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82"/>
    <p:sldMasterId id="2147483974" r:id="rId83"/>
    <p:sldMasterId id="2147483986" r:id="rId84"/>
    <p:sldMasterId id="2147484011" r:id="rId85"/>
  </p:sldMasterIdLst>
  <p:notesMasterIdLst>
    <p:notesMasterId r:id="rId95"/>
  </p:notesMasterIdLst>
  <p:handoutMasterIdLst>
    <p:handoutMasterId r:id="rId96"/>
  </p:handoutMasterIdLst>
  <p:sldIdLst>
    <p:sldId id="566" r:id="rId86"/>
    <p:sldId id="569" r:id="rId87"/>
    <p:sldId id="563" r:id="rId88"/>
    <p:sldId id="570" r:id="rId89"/>
    <p:sldId id="565" r:id="rId90"/>
    <p:sldId id="571" r:id="rId91"/>
    <p:sldId id="572" r:id="rId92"/>
    <p:sldId id="573" r:id="rId93"/>
    <p:sldId id="386" r:id="rId94"/>
  </p:sldIdLst>
  <p:sldSz cx="12192000" cy="6858000"/>
  <p:notesSz cx="7315200" cy="9601200"/>
  <p:custDataLst>
    <p:tags r:id="rId9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840" userDrawn="1">
          <p15:clr>
            <a:srgbClr val="A4A3A4"/>
          </p15:clr>
        </p15:guide>
        <p15:guide id="2" orient="horz" pos="3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Elovskaya, Marina" initials="EM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FFFFFE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Light Style 1 - Accent 2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30000" cmpd="sng">
              <a:solidFill>
                <a:schemeClr val="accent2"/>
              </a:solidFill>
            </a:ln>
          </a:top>
          <a:bottom>
            <a:ln w="5000" cmpd="sng">
              <a:solidFill>
                <a:srgbClr val="BBBCBC"/>
              </a:solidFill>
            </a:ln>
          </a:bottom>
          <a:insideH>
            <a:ln w="6350" cmpd="sng">
              <a:solidFill>
                <a:srgbClr val="BBBCBC"/>
              </a:solidFill>
            </a:ln>
          </a:insideH>
          <a:insideV>
            <a:ln w="0" cmpd="sng"/>
          </a:insideV>
        </a:tcBdr>
        <a:fill>
          <a:solidFill>
            <a:schemeClr val="lt1">
              <a:tint val="0"/>
            </a:schemeClr>
          </a:solidFill>
        </a:fill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FFFFF"/>
          </a:solidFill>
        </a:fill>
      </a:tcStyle>
    </a:band1V>
    <a:band2V>
      <a:tcStyle>
        <a:tcBdr/>
      </a:tcStyle>
    </a:band2V>
    <a:lastCol>
      <a:tcTxStyle b="on">
        <a:fontRef idx="minor">
          <a:srgbClr val="000000"/>
        </a:fontRef>
        <a:srgbClr val="000000"/>
      </a:tcTxStyle>
      <a:tcStyle>
        <a:tcBdr/>
        <a:fill>
          <a:solidFill>
            <a:srgbClr val="FFFFFF"/>
          </a:solidFill>
        </a:fill>
      </a:tcStyle>
    </a:lastCol>
    <a:firstCol>
      <a:tcTxStyle b="on">
        <a:fontRef idx="major">
          <a:schemeClr val="accent2"/>
        </a:fontRef>
        <a:schemeClr val="accent2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>
          <a:srgbClr val="000000"/>
        </a:fontRef>
        <a:srgbClr val="000000"/>
      </a:tcTxStyle>
      <a:tcStyle>
        <a:tcBdr/>
        <a:fill>
          <a:solidFill>
            <a:schemeClr val="lt1"/>
          </a:solidFill>
        </a:fill>
      </a:tcStyle>
    </a:lastRow>
    <a:firstRow>
      <a:tcTxStyle b="on">
        <a:fontRef idx="major">
          <a:schemeClr val="accent2"/>
        </a:fontRef>
        <a:schemeClr val="accent2"/>
      </a:tcTxStyle>
      <a:tcStyle>
        <a:tcBdr/>
        <a:fill>
          <a:solidFill>
            <a:schemeClr val="l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99" autoAdjust="0"/>
  </p:normalViewPr>
  <p:slideViewPr>
    <p:cSldViewPr snapToGrid="0" showGuides="1">
      <p:cViewPr>
        <p:scale>
          <a:sx n="80" d="100"/>
          <a:sy n="80" d="100"/>
        </p:scale>
        <p:origin x="-1752" y="-888"/>
      </p:cViewPr>
      <p:guideLst>
        <p:guide orient="horz" pos="3475"/>
        <p:guide pos="384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814" y="7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76" Type="http://schemas.openxmlformats.org/officeDocument/2006/relationships/customXml" Target="../customXml/item76.xml"/><Relationship Id="rId84" Type="http://schemas.openxmlformats.org/officeDocument/2006/relationships/slideMaster" Target="slideMasters/slideMaster3.xml"/><Relationship Id="rId89" Type="http://schemas.openxmlformats.org/officeDocument/2006/relationships/slide" Target="slides/slide4.xml"/><Relationship Id="rId97" Type="http://schemas.openxmlformats.org/officeDocument/2006/relationships/tags" Target="tags/tag1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66" Type="http://schemas.openxmlformats.org/officeDocument/2006/relationships/customXml" Target="../customXml/item66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87" Type="http://schemas.openxmlformats.org/officeDocument/2006/relationships/slide" Target="slides/slide2.xml"/><Relationship Id="rId102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slideMaster" Target="slideMasters/slideMaster1.xml"/><Relationship Id="rId90" Type="http://schemas.openxmlformats.org/officeDocument/2006/relationships/slide" Target="slides/slide5.xml"/><Relationship Id="rId95" Type="http://schemas.openxmlformats.org/officeDocument/2006/relationships/notesMaster" Target="notesMasters/notesMaster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slideMaster" Target="slideMasters/slideMaster4.xml"/><Relationship Id="rId93" Type="http://schemas.openxmlformats.org/officeDocument/2006/relationships/slide" Target="slides/slide8.xml"/><Relationship Id="rId9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slideMaster" Target="slideMasters/slideMaster2.xml"/><Relationship Id="rId88" Type="http://schemas.openxmlformats.org/officeDocument/2006/relationships/slide" Target="slides/slide3.xml"/><Relationship Id="rId91" Type="http://schemas.openxmlformats.org/officeDocument/2006/relationships/slide" Target="slides/slide6.xml"/><Relationship Id="rId96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slide" Target="slides/slide1.xml"/><Relationship Id="rId94" Type="http://schemas.openxmlformats.org/officeDocument/2006/relationships/slide" Target="slides/slide9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0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615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38707" y="688975"/>
            <a:ext cx="5510018" cy="5510018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9036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GB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>
              <a:defRPr lang="en-GB" sz="3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pPr lvl="0"/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lvl="1">
              <a:lnSpc>
                <a:spcPct val="80000"/>
              </a:lnSpc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146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562599" y="1705660"/>
            <a:ext cx="6176963" cy="4636316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59559" y="1705660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4343" y="346075"/>
            <a:ext cx="11282363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3557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7423405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8189913" y="1708835"/>
            <a:ext cx="3562350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7222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48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4983" y="345992"/>
            <a:ext cx="547458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6264983" y="1708835"/>
            <a:ext cx="5474580" cy="4637088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430510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8" name="text" descr="{&quot;templafy&quot;:{&quot;id&quot;:&quot;03d7436d-13f5-4b9d-af88-ab7594b75faa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6523331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АО ДРТ</a:t>
            </a:r>
            <a:endParaRPr lang="fr-FR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222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5488242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5488242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253163" y="346075"/>
            <a:ext cx="5486399" cy="5995901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2600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2616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7069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 with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2185012"/>
            <a:ext cx="1728000" cy="172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2185012"/>
            <a:ext cx="9242851" cy="4160226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4091930"/>
            <a:ext cx="1724025" cy="2253307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34" hasCustomPrompt="1"/>
          </p:nvPr>
        </p:nvSpPr>
        <p:spPr>
          <a:xfrm>
            <a:off x="457200" y="1880212"/>
            <a:ext cx="11264900" cy="186713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23962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rs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8" y="1716582"/>
            <a:ext cx="9326561" cy="226092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1" y="345205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2395538" y="4166750"/>
            <a:ext cx="9326561" cy="226092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1" y="590221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866837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rs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88021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9" y="1880212"/>
            <a:ext cx="3556000" cy="4465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3615681"/>
            <a:ext cx="1724025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6265861" y="188021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191500" y="1880212"/>
            <a:ext cx="3548063" cy="4465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6265862" y="3615681"/>
            <a:ext cx="1724025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4150" y="1738295"/>
            <a:ext cx="5508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6257938" y="1738295"/>
            <a:ext cx="5508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08455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3 pers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3486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1549667" y="1713487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9900" y="2723742"/>
            <a:ext cx="899999" cy="377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 smtClean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>
              <a:spcAft>
                <a:spcPts val="300"/>
              </a:spcAft>
            </a:pPr>
            <a:r>
              <a:rPr lang="en-US" noProof="0" dirty="0" smtClean="0"/>
              <a:t>Second level</a:t>
            </a:r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3333739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1549667" y="3333740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0" y="4343995"/>
            <a:ext cx="899999" cy="37702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100" b="1" noProof="0" dirty="0"/>
            </a:lvl1pPr>
            <a:lvl2pPr>
              <a:spcAft>
                <a:spcPts val="300"/>
              </a:spcAft>
              <a:defRPr lang="en-US" sz="1100" b="0" noProof="0" dirty="0"/>
            </a:lvl2pPr>
          </a:lstStyle>
          <a:p>
            <a:pPr lvl="0"/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/>
            <a:r>
              <a:rPr lang="en-US" noProof="0" dirty="0" smtClean="0"/>
              <a:t>Second level</a:t>
            </a:r>
            <a:endParaRPr lang="en-US" noProof="0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469899" y="4953993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1549667" y="4953994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69900" y="5964249"/>
            <a:ext cx="899999" cy="377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 smtClean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>
              <a:spcAft>
                <a:spcPts val="300"/>
              </a:spcAft>
            </a:pPr>
            <a:r>
              <a:rPr lang="en-US" noProof="0" dirty="0" smtClean="0"/>
              <a:t>Second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36470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38707" y="688975"/>
            <a:ext cx="5510018" cy="5510018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7893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3000" b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marL="0" lvl="1" indent="0" algn="l" defTabSz="121917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 smtClean="0"/>
              <a:t>Subtitle, date or author second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807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3 pers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1508452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2726840"/>
            <a:ext cx="899999" cy="7155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7"/>
          </p:nvPr>
        </p:nvSpPr>
        <p:spPr>
          <a:xfrm>
            <a:off x="469899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4328510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5367063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328511" y="2726840"/>
            <a:ext cx="899999" cy="7349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4328510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42"/>
          </p:nvPr>
        </p:nvSpPr>
        <p:spPr>
          <a:xfrm>
            <a:off x="8192831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9231384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8192832" y="2726840"/>
            <a:ext cx="899999" cy="7349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45"/>
          </p:nvPr>
        </p:nvSpPr>
        <p:spPr>
          <a:xfrm>
            <a:off x="8192831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2524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9" y="1716582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1" y="343280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2395539" y="4166750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1" y="588296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6265861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8191501" y="1716582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6265863" y="343280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40"/>
          </p:nvPr>
        </p:nvSpPr>
        <p:spPr>
          <a:xfrm>
            <a:off x="6265861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8191501" y="4166750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6265863" y="588296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85668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persons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8" y="1716581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2782134" y="1716582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8" y="4166749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782134" y="4166750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6265860" y="1716581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8578096" y="1716582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40"/>
          </p:nvPr>
        </p:nvSpPr>
        <p:spPr>
          <a:xfrm>
            <a:off x="6265860" y="4166749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8578096" y="4166750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0710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4" name="text" descr="{&quot;templafy&quot;:{&quot;id&quot;:&quot;fdf92aa7-7e76-4326-bdde-440d9933da33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5823531"/>
            <a:ext cx="4320000" cy="8094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Настоящее сообщение содержит информацию только общего характера. При этом компании Группы ДРТ </a:t>
            </a:r>
            <a: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(АО ДРТ и его аффилированные лица) не предо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</a:t>
            </a:r>
            <a: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с квалифицированным специалистом. Ни одно из юридических лиц, входящих в Группу ДРТ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</p:txBody>
      </p:sp>
    </p:spTree>
    <p:extLst>
      <p:ext uri="{BB962C8B-B14F-4D97-AF65-F5344CB8AC3E}">
        <p14:creationId xmlns:p14="http://schemas.microsoft.com/office/powerpoint/2010/main" val="34895018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  <p:sp>
        <p:nvSpPr>
          <p:cNvPr id="6" name="text" descr="{&quot;templafy&quot;:{&quot;id&quot;:&quot;fdf92aa7-7e76-4326-bdde-440d9933da33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5823531"/>
            <a:ext cx="4320000" cy="8094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Настоящее сообщение содержит информацию только общего характера. При этом компании Группы ДРТ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(АО ДРТ и его аффилированные лица) не предо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с квалифицированным специалистом. Ни одно из юридических лиц, входящих в Группу ДРТ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</p:txBody>
      </p:sp>
    </p:spTree>
    <p:extLst>
      <p:ext uri="{BB962C8B-B14F-4D97-AF65-F5344CB8AC3E}">
        <p14:creationId xmlns:p14="http://schemas.microsoft.com/office/powerpoint/2010/main" val="34930295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of text">
    <p:bg>
      <p:bgPr>
        <a:solidFill>
          <a:srgbClr val="0076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76060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38707" y="688975"/>
            <a:ext cx="5510018" cy="5510018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9036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GB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>
              <a:defRPr lang="en-GB" sz="3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pPr lvl="0"/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lvl="1">
              <a:lnSpc>
                <a:spcPct val="80000"/>
              </a:lnSpc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59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38707" y="688975"/>
            <a:ext cx="5510018" cy="5510018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7893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3000" b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marL="0" lvl="1" indent="0" algn="l" defTabSz="121917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 smtClean="0"/>
              <a:t>Subtitle, date or author second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966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 full bleed with image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8"/>
          <p:cNvSpPr>
            <a:spLocks noGrp="1"/>
          </p:cNvSpPr>
          <p:nvPr>
            <p:ph type="subTitle" idx="1"/>
          </p:nvPr>
        </p:nvSpPr>
        <p:spPr>
          <a:xfrm>
            <a:off x="458935" y="4682385"/>
            <a:ext cx="4903640" cy="1369606"/>
          </a:xfrm>
        </p:spPr>
        <p:txBody>
          <a:bodyPr anchor="b">
            <a:spAutoFit/>
          </a:bodyPr>
          <a:lstStyle>
            <a:lvl1pPr>
              <a:defRPr lang="en-GB" sz="3000" b="0" kern="1200" dirty="0" smtClean="0">
                <a:solidFill>
                  <a:schemeClr val="accent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>
              <a:defRPr lang="en-GB" sz="3000" b="0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5" y="6351588"/>
            <a:ext cx="5594349" cy="215444"/>
          </a:xfrm>
        </p:spPr>
        <p:txBody>
          <a:bodyPr>
            <a:sp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98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 full bleed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7893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3000" b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marL="0" lvl="1" indent="0" algn="l" defTabSz="121917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 smtClean="0"/>
              <a:t>Subtitle, date or author second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8338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ack full bleed with image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8"/>
          <p:cNvSpPr>
            <a:spLocks noGrp="1"/>
          </p:cNvSpPr>
          <p:nvPr>
            <p:ph type="subTitle" idx="1"/>
          </p:nvPr>
        </p:nvSpPr>
        <p:spPr>
          <a:xfrm>
            <a:off x="458935" y="4682385"/>
            <a:ext cx="4903640" cy="1369606"/>
          </a:xfrm>
        </p:spPr>
        <p:txBody>
          <a:bodyPr anchor="b">
            <a:spAutoFit/>
          </a:bodyPr>
          <a:lstStyle>
            <a:lvl1pPr>
              <a:defRPr lang="en-GB" sz="3000" b="0" kern="1200" dirty="0" smtClean="0">
                <a:solidFill>
                  <a:schemeClr val="accent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>
              <a:defRPr lang="en-GB" sz="3000" b="0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8935" y="6351588"/>
            <a:ext cx="5594349" cy="215444"/>
          </a:xfrm>
        </p:spPr>
        <p:txBody>
          <a:bodyPr>
            <a:sp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026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et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57476" y="1710013"/>
            <a:ext cx="9067100" cy="4635225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300"/>
            </a:lvl1pPr>
            <a:lvl2pPr>
              <a:spcBef>
                <a:spcPts val="600"/>
              </a:spcBef>
              <a:spcAft>
                <a:spcPts val="0"/>
              </a:spcAft>
              <a:defRPr sz="1300"/>
            </a:lvl2pPr>
            <a:lvl3pPr>
              <a:spcBef>
                <a:spcPts val="600"/>
              </a:spcBef>
              <a:spcAft>
                <a:spcPts val="0"/>
              </a:spcAft>
              <a:defRPr sz="1300"/>
            </a:lvl3pPr>
            <a:lvl4pPr>
              <a:spcBef>
                <a:spcPts val="600"/>
              </a:spcBef>
              <a:spcAft>
                <a:spcPts val="0"/>
              </a:spcAft>
              <a:defRPr sz="1300"/>
            </a:lvl4pPr>
            <a:lvl5pPr>
              <a:spcBef>
                <a:spcPts val="600"/>
              </a:spcBef>
              <a:spcAft>
                <a:spcPts val="0"/>
              </a:spcAft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" descr="{&quot;templafy&quot;:{&quot;id&quot;:&quot;0d64b890-c825-4d29-8e43-189ddc3917c8&quot;}}" title="UserProfile.Language.PpAddress">
            <a:extLst>
              <a:ext uri="{FF2B5EF4-FFF2-40B4-BE49-F238E27FC236}">
                <a16:creationId xmlns:a16="http://schemas.microsoft.com/office/drawing/2014/main" xmlns="" id="{34786518-B9ED-4287-8F34-CFAB05C5D177}"/>
              </a:ext>
            </a:extLst>
          </p:cNvPr>
          <p:cNvSpPr txBox="1"/>
          <p:nvPr userDrawn="1"/>
        </p:nvSpPr>
        <p:spPr>
          <a:xfrm>
            <a:off x="9240683" y="355600"/>
            <a:ext cx="2502942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Деловой центр «Густаф»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В. О., Средний пр-т, д. 38, корп. 1, лит. К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Санкт-Петербург, 199004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Росс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endParaRPr lang="ru-RU" sz="900" kern="1200" dirty="0" smtClean="0">
              <a:solidFill>
                <a:srgbClr val="313131"/>
              </a:solidFill>
              <a:latin typeface="+mn-lt"/>
              <a:ea typeface="+mn-ea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Тел.: </a:t>
            </a:r>
            <a:r>
              <a:rPr lang="en-US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 </a:t>
            </a: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+7 (812) 703 71 06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Факс: +7 (812) 703 71 0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delret.ru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7200" y="1700213"/>
            <a:ext cx="1938338" cy="193833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9900" y="3829051"/>
            <a:ext cx="1925638" cy="25161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447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1982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1343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11277600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2890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5488243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6264020" y="1708835"/>
            <a:ext cx="5488243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3752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562599" y="1705660"/>
            <a:ext cx="6176963" cy="4636316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59559" y="1705660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4343" y="346075"/>
            <a:ext cx="11282363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3722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7423405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8189913" y="1708835"/>
            <a:ext cx="3562350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71597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463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4983" y="345992"/>
            <a:ext cx="547458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6264983" y="1708835"/>
            <a:ext cx="5474580" cy="4637088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6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1658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5488242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5488242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253163" y="346075"/>
            <a:ext cx="5486399" cy="5995901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1190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 full bleed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58935" y="4682385"/>
            <a:ext cx="4789340" cy="1369606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sz="3000" dirty="0" smtClean="0">
                <a:solidFill>
                  <a:schemeClr val="accent1"/>
                </a:solidFill>
                <a:latin typeface="Calibri Light" panose="020F0302020204030204" pitchFamily="34" charset="0"/>
              </a:defRPr>
            </a:lvl1pPr>
            <a:lvl2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3000" b="0" dirty="0" smtClean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</a:lstStyle>
          <a:p>
            <a:r>
              <a:rPr lang="en-GB" dirty="0" smtClean="0"/>
              <a:t>Document heading </a:t>
            </a:r>
            <a:br>
              <a:rPr lang="en-GB" dirty="0" smtClean="0"/>
            </a:br>
            <a:r>
              <a:rPr lang="en-GB" dirty="0" smtClean="0"/>
              <a:t>in Calibri Light green</a:t>
            </a:r>
          </a:p>
          <a:p>
            <a:pPr marL="0" lvl="1" indent="0" algn="l" defTabSz="121917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</a:pPr>
            <a:r>
              <a:rPr lang="en-GB" dirty="0" smtClean="0"/>
              <a:t>Document subheading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8935" y="6351588"/>
            <a:ext cx="5594349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 smtClean="0"/>
              <a:t>Subtitle, date or author second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397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2616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1259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 with f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2185012"/>
            <a:ext cx="1728000" cy="172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2185012"/>
            <a:ext cx="9242851" cy="4160226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4091930"/>
            <a:ext cx="1724025" cy="2253307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34" hasCustomPrompt="1"/>
          </p:nvPr>
        </p:nvSpPr>
        <p:spPr>
          <a:xfrm>
            <a:off x="457200" y="1880212"/>
            <a:ext cx="11264900" cy="186713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030299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rs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8" y="1716582"/>
            <a:ext cx="9326561" cy="226092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1" y="345205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2395538" y="4166750"/>
            <a:ext cx="9326561" cy="2260920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1" y="590221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300"/>
              </a:spcAft>
              <a:defRPr lang="en-US" sz="1100" noProof="0" dirty="0"/>
            </a:lvl1pPr>
            <a:lvl2pPr>
              <a:spcAft>
                <a:spcPts val="300"/>
              </a:spcAft>
              <a:defRPr lang="en-US" sz="110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518432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 pers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88021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9" y="1880212"/>
            <a:ext cx="3556000" cy="4465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3615681"/>
            <a:ext cx="1724025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6265861" y="188021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191500" y="1880212"/>
            <a:ext cx="3548063" cy="4465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6265862" y="3615681"/>
            <a:ext cx="1724025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64150" y="1738295"/>
            <a:ext cx="5508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6257938" y="1738295"/>
            <a:ext cx="5508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553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3 pers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3486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1549667" y="1713487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9900" y="2723742"/>
            <a:ext cx="899999" cy="377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 smtClean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>
              <a:spcAft>
                <a:spcPts val="300"/>
              </a:spcAft>
            </a:pPr>
            <a:r>
              <a:rPr lang="en-US" noProof="0" dirty="0" smtClean="0"/>
              <a:t>Second level</a:t>
            </a:r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3333739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1549667" y="3333740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0" y="4343995"/>
            <a:ext cx="899999" cy="37702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100" b="1" noProof="0" dirty="0"/>
            </a:lvl1pPr>
            <a:lvl2pPr>
              <a:spcAft>
                <a:spcPts val="300"/>
              </a:spcAft>
              <a:defRPr lang="en-US" sz="1100" b="0" noProof="0" dirty="0"/>
            </a:lvl2pPr>
          </a:lstStyle>
          <a:p>
            <a:pPr lvl="0"/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/>
            <a:r>
              <a:rPr lang="en-US" noProof="0" dirty="0" smtClean="0"/>
              <a:t>Second level</a:t>
            </a:r>
            <a:endParaRPr lang="en-US" noProof="0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469899" y="4953993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1549667" y="4953994"/>
            <a:ext cx="10191227" cy="138728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69900" y="5964249"/>
            <a:ext cx="899999" cy="37702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 smtClean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</a:t>
            </a:r>
            <a:r>
              <a:rPr lang="en-US" noProof="0" dirty="0" smtClean="0"/>
              <a:t>edit</a:t>
            </a:r>
          </a:p>
          <a:p>
            <a:pPr lvl="1">
              <a:spcAft>
                <a:spcPts val="300"/>
              </a:spcAft>
            </a:pPr>
            <a:r>
              <a:rPr lang="en-US" noProof="0" dirty="0" smtClean="0"/>
              <a:t>Second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8334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3 pers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1508452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2726840"/>
            <a:ext cx="899999" cy="71558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7"/>
          </p:nvPr>
        </p:nvSpPr>
        <p:spPr>
          <a:xfrm>
            <a:off x="469899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4328510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5367063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328511" y="2726840"/>
            <a:ext cx="899999" cy="7349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4328510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42"/>
          </p:nvPr>
        </p:nvSpPr>
        <p:spPr>
          <a:xfrm>
            <a:off x="8192831" y="1716582"/>
            <a:ext cx="900000" cy="90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9231384" y="1716582"/>
            <a:ext cx="2509511" cy="17662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8192832" y="2726840"/>
            <a:ext cx="899999" cy="73493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45"/>
          </p:nvPr>
        </p:nvSpPr>
        <p:spPr>
          <a:xfrm>
            <a:off x="8192831" y="3572036"/>
            <a:ext cx="3548064" cy="277320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2033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95539" y="1716582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1" y="343280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9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2395539" y="4166750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469901" y="588296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6265861" y="1716582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8191501" y="1716582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6265863" y="3432801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40"/>
          </p:nvPr>
        </p:nvSpPr>
        <p:spPr>
          <a:xfrm>
            <a:off x="6265861" y="4166750"/>
            <a:ext cx="1620839" cy="162083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8191501" y="4166750"/>
            <a:ext cx="3556000" cy="224167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smtClean="0"/>
              <a:t>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smtClean="0"/>
              <a:t>Second level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6265863" y="5882969"/>
            <a:ext cx="1620838" cy="52545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100" noProof="0" dirty="0"/>
            </a:lvl1pPr>
            <a:lvl2pPr>
              <a:defRPr lang="en-US" sz="1100" noProof="0" dirty="0"/>
            </a:lvl2pPr>
          </a:lstStyle>
          <a:p>
            <a:pPr lvl="0">
              <a:spcAft>
                <a:spcPts val="300"/>
              </a:spcAft>
            </a:pPr>
            <a:r>
              <a:rPr lang="en-US" noProof="0" dirty="0"/>
              <a:t>Click to edit Master text styles</a:t>
            </a:r>
          </a:p>
          <a:p>
            <a:pPr lvl="1">
              <a:spcAft>
                <a:spcPts val="300"/>
              </a:spcAft>
            </a:pPr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453348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4 persons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8" y="1716581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2782134" y="1716582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34"/>
          </p:nvPr>
        </p:nvSpPr>
        <p:spPr>
          <a:xfrm>
            <a:off x="469898" y="4166749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782134" y="4166750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37"/>
          </p:nvPr>
        </p:nvSpPr>
        <p:spPr>
          <a:xfrm>
            <a:off x="6265860" y="1716581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8578096" y="1716582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Picture Placeholder 11"/>
          <p:cNvSpPr>
            <a:spLocks noGrp="1"/>
          </p:cNvSpPr>
          <p:nvPr>
            <p:ph type="pic" sz="quarter" idx="40"/>
          </p:nvPr>
        </p:nvSpPr>
        <p:spPr>
          <a:xfrm>
            <a:off x="6265860" y="4166749"/>
            <a:ext cx="2052000" cy="205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8578096" y="4166750"/>
            <a:ext cx="3168000" cy="777136"/>
          </a:xfrm>
        </p:spPr>
        <p:txBody>
          <a:bodyPr vert="horz" lIns="0" tIns="0" rIns="0" bIns="0" rtlCol="0">
            <a:spAutoFit/>
          </a:bodyPr>
          <a:lstStyle>
            <a:lvl1pPr>
              <a:spcAft>
                <a:spcPts val="300"/>
              </a:spcAft>
              <a:defRPr lang="en-US" sz="1600" b="1" noProof="0" dirty="0"/>
            </a:lvl1pPr>
            <a:lvl2pPr>
              <a:spcAft>
                <a:spcPts val="300"/>
              </a:spcAft>
              <a:defRPr lang="en-US" sz="1600" b="0" noProof="0" dirty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86547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  <p:sp>
        <p:nvSpPr>
          <p:cNvPr id="4" name="text" descr="{&quot;templafy&quot;:{&quot;id&quot;:&quot;fdf92aa7-7e76-4326-bdde-440d9933da33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5823531"/>
            <a:ext cx="4320000" cy="8094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Настоящее сообщение содержит информацию только общего характера. При этом компании Группы ДРТ </a:t>
            </a:r>
            <a: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(АО ДРТ и его аффилированные лица) не предо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</a:t>
            </a:r>
            <a: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с квалифицированным специалистом. Ни одно из юридических лиц, входящих в Группу ДРТ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</p:txBody>
      </p:sp>
    </p:spTree>
    <p:extLst>
      <p:ext uri="{BB962C8B-B14F-4D97-AF65-F5344CB8AC3E}">
        <p14:creationId xmlns:p14="http://schemas.microsoft.com/office/powerpoint/2010/main" val="36695448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1" t="6326"/>
          <a:stretch/>
        </p:blipFill>
        <p:spPr>
          <a:xfrm>
            <a:off x="0" y="0"/>
            <a:ext cx="3702886" cy="1442940"/>
          </a:xfrm>
          <a:prstGeom prst="rect">
            <a:avLst/>
          </a:prstGeom>
        </p:spPr>
      </p:pic>
      <p:sp>
        <p:nvSpPr>
          <p:cNvPr id="6" name="text" descr="{&quot;templafy&quot;:{&quot;id&quot;:&quot;fdf92aa7-7e76-4326-bdde-440d9933da33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5823531"/>
            <a:ext cx="4320000" cy="8094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Настоящее сообщение содержит информацию только общего характера. При этом компании Группы ДРТ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(АО ДРТ и его аффилированные лица) не предо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</a:t>
            </a:r>
            <a: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/>
            </a:r>
            <a:br>
              <a:rPr lang="en-US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</a:b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с квалифицированным специалистом. Ни одно из юридических лиц, входящих в Группу ДРТ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ru-RU" sz="680" kern="1200" noProof="0" dirty="0" smtClean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</p:txBody>
      </p:sp>
    </p:spTree>
    <p:extLst>
      <p:ext uri="{BB962C8B-B14F-4D97-AF65-F5344CB8AC3E}">
        <p14:creationId xmlns:p14="http://schemas.microsoft.com/office/powerpoint/2010/main" val="35778048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et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657476" y="1710013"/>
            <a:ext cx="9067100" cy="4635225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300"/>
            </a:lvl1pPr>
            <a:lvl2pPr>
              <a:spcBef>
                <a:spcPts val="600"/>
              </a:spcBef>
              <a:spcAft>
                <a:spcPts val="0"/>
              </a:spcAft>
              <a:defRPr sz="1300"/>
            </a:lvl2pPr>
            <a:lvl3pPr>
              <a:spcBef>
                <a:spcPts val="600"/>
              </a:spcBef>
              <a:spcAft>
                <a:spcPts val="0"/>
              </a:spcAft>
              <a:defRPr sz="1300"/>
            </a:lvl3pPr>
            <a:lvl4pPr>
              <a:spcBef>
                <a:spcPts val="600"/>
              </a:spcBef>
              <a:spcAft>
                <a:spcPts val="0"/>
              </a:spcAft>
              <a:defRPr sz="1300"/>
            </a:lvl4pPr>
            <a:lvl5pPr>
              <a:spcBef>
                <a:spcPts val="600"/>
              </a:spcBef>
              <a:spcAft>
                <a:spcPts val="0"/>
              </a:spcAft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" descr="{&quot;templafy&quot;:{&quot;id&quot;:&quot;0d64b890-c825-4d29-8e43-189ddc3917c8&quot;}}" title="UserProfile.Language.PpAddress">
            <a:extLst>
              <a:ext uri="{FF2B5EF4-FFF2-40B4-BE49-F238E27FC236}">
                <a16:creationId xmlns:a16="http://schemas.microsoft.com/office/drawing/2014/main" xmlns="" id="{34786518-B9ED-4287-8F34-CFAB05C5D177}"/>
              </a:ext>
            </a:extLst>
          </p:cNvPr>
          <p:cNvSpPr txBox="1"/>
          <p:nvPr userDrawn="1"/>
        </p:nvSpPr>
        <p:spPr>
          <a:xfrm>
            <a:off x="9240683" y="355600"/>
            <a:ext cx="2502942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АО ДРТ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Деловой центр «Густаф»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В. О., Средний пр-т, д. 38, корп. 1, лит. К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Санкт-Петербург, 199004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Россия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endParaRPr lang="ru-RU" sz="900" kern="1200" dirty="0" smtClean="0">
              <a:solidFill>
                <a:srgbClr val="313131"/>
              </a:solidFill>
              <a:latin typeface="+mn-lt"/>
              <a:ea typeface="+mn-ea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Тел.: </a:t>
            </a:r>
            <a:r>
              <a:rPr lang="en-US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 </a:t>
            </a: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+7 (812) 703 71 06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Факс: +7 (812) 703 71 07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ru-RU" sz="900" kern="1200" dirty="0" smtClean="0">
                <a:solidFill>
                  <a:srgbClr val="313131"/>
                </a:solidFill>
                <a:latin typeface="+mn-lt"/>
                <a:ea typeface="+mn-ea"/>
                <a:cs typeface="Calibri Light" panose="020F0302020204030204" pitchFamily="34" charset="0"/>
              </a:rPr>
              <a:t>delret.ru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7200" y="1700213"/>
            <a:ext cx="1938338" cy="193833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69900" y="3829051"/>
            <a:ext cx="1925638" cy="25161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80" t="5997"/>
          <a:stretch/>
        </p:blipFill>
        <p:spPr>
          <a:xfrm>
            <a:off x="-5080" y="-5080"/>
            <a:ext cx="3707966" cy="1448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52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 of text">
    <p:bg>
      <p:bgPr>
        <a:solidFill>
          <a:srgbClr val="0076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31781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8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18017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11277600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0770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23"/>
          </p:nvPr>
        </p:nvSpPr>
        <p:spPr>
          <a:xfrm>
            <a:off x="463295" y="1708835"/>
            <a:ext cx="5488243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24"/>
          </p:nvPr>
        </p:nvSpPr>
        <p:spPr>
          <a:xfrm>
            <a:off x="6264020" y="1708835"/>
            <a:ext cx="5488243" cy="46370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16965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8788" y="1708835"/>
            <a:ext cx="11274425" cy="4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30510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8" name="text" descr="{&quot;templafy&quot;:{&quot;id&quot;:&quot;03d7436d-13f5-4b9d-af88-ab7594b75faa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6523331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АО ДРТ</a:t>
            </a:r>
            <a:endParaRPr lang="fr-FR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3" r:id="rId2"/>
    <p:sldLayoutId id="2147483951" r:id="rId3"/>
    <p:sldLayoutId id="2147483972" r:id="rId4"/>
    <p:sldLayoutId id="2147483949" r:id="rId5"/>
    <p:sldLayoutId id="2147483942" r:id="rId6"/>
    <p:sldLayoutId id="2147483952" r:id="rId7"/>
    <p:sldLayoutId id="2147483944" r:id="rId8"/>
    <p:sldLayoutId id="2147483943" r:id="rId9"/>
    <p:sldLayoutId id="2147483889" r:id="rId10"/>
    <p:sldLayoutId id="2147483941" r:id="rId11"/>
    <p:sldLayoutId id="2147483907" r:id="rId12"/>
    <p:sldLayoutId id="2147483921" r:id="rId13"/>
    <p:sldLayoutId id="2147483960" r:id="rId14"/>
    <p:sldLayoutId id="2147483922" r:id="rId15"/>
    <p:sldLayoutId id="2147483939" r:id="rId16"/>
    <p:sldLayoutId id="2147483940" r:id="rId17"/>
    <p:sldLayoutId id="2147483953" r:id="rId18"/>
    <p:sldLayoutId id="2147483955" r:id="rId19"/>
    <p:sldLayoutId id="2147483954" r:id="rId20"/>
    <p:sldLayoutId id="2147483956" r:id="rId21"/>
    <p:sldLayoutId id="2147483957" r:id="rId22"/>
    <p:sldLayoutId id="2147483850" r:id="rId23"/>
    <p:sldLayoutId id="2147483894" r:id="rId24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18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3pPr>
      <a:lvl4pPr marL="36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4pPr>
      <a:lvl5pPr marL="540000" indent="-180000" algn="l" defTabSz="1064657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300" kern="1200" baseline="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59" userDrawn="1">
          <p15:clr>
            <a:srgbClr val="A4A3A4"/>
          </p15:clr>
        </p15:guide>
        <p15:guide id="3" orient="horz" pos="3997" userDrawn="1">
          <p15:clr>
            <a:srgbClr val="A4A3A4"/>
          </p15:clr>
        </p15:guide>
        <p15:guide id="5" pos="7395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18" userDrawn="1">
          <p15:clr>
            <a:srgbClr val="A4A3A4"/>
          </p15:clr>
        </p15:guide>
        <p15:guide id="8" orient="horz" pos="4106" userDrawn="1">
          <p15:clr>
            <a:srgbClr val="A4A3A4"/>
          </p15:clr>
        </p15:guide>
        <p15:guide id="10" pos="4968" userDrawn="1">
          <p15:clr>
            <a:srgbClr val="A4A3A4"/>
          </p15:clr>
        </p15:guide>
        <p15:guide id="12" pos="1317" userDrawn="1">
          <p15:clr>
            <a:srgbClr val="A4A3A4"/>
          </p15:clr>
        </p15:guide>
        <p15:guide id="13" pos="1509" userDrawn="1">
          <p15:clr>
            <a:srgbClr val="A4A3A4"/>
          </p15:clr>
        </p15:guide>
        <p15:guide id="14" pos="2531" userDrawn="1">
          <p15:clr>
            <a:srgbClr val="A4A3A4"/>
          </p15:clr>
        </p15:guide>
        <p15:guide id="15" pos="2720" userDrawn="1">
          <p15:clr>
            <a:srgbClr val="A4A3A4"/>
          </p15:clr>
        </p15:guide>
        <p15:guide id="16" pos="6172" userDrawn="1">
          <p15:clr>
            <a:srgbClr val="A4A3A4"/>
          </p15:clr>
        </p15:guide>
        <p15:guide id="17" pos="3749" userDrawn="1">
          <p15:clr>
            <a:srgbClr val="A4A3A4"/>
          </p15:clr>
        </p15:guide>
        <p15:guide id="18" pos="3939" userDrawn="1">
          <p15:clr>
            <a:srgbClr val="A4A3A4"/>
          </p15:clr>
        </p15:guide>
        <p15:guide id="19" pos="3840" userDrawn="1">
          <p15:clr>
            <a:srgbClr val="A4A3A4"/>
          </p15:clr>
        </p15:guide>
        <p15:guide id="20" pos="6371" userDrawn="1">
          <p15:clr>
            <a:srgbClr val="A4A3A4"/>
          </p15:clr>
        </p15:guide>
        <p15:guide id="24" orient="horz" pos="434" userDrawn="1">
          <p15:clr>
            <a:srgbClr val="A4A3A4"/>
          </p15:clr>
        </p15:guide>
        <p15:guide id="27" pos="288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321513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8788" y="1708835"/>
            <a:ext cx="11274425" cy="4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6336000" y="6520949"/>
            <a:ext cx="4896560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b="1" noProof="0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Financial</a:t>
            </a:r>
            <a:r>
              <a:rPr lang="ru-RU" sz="680" b="1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ue</a:t>
            </a:r>
            <a:r>
              <a:rPr lang="ru-RU" sz="680" b="1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err="1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iligence</a:t>
            </a:r>
            <a:r>
              <a:rPr lang="en-US" sz="680" b="1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680" b="1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|</a:t>
            </a:r>
            <a:r>
              <a:rPr lang="en-US" sz="680" b="1" baseline="0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 </a:t>
            </a:r>
            <a:r>
              <a:rPr lang="ru-RU" sz="680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Как помочь инвестору не переплатить за сделку в рамках M&amp;A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30510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3" name="text" descr="{&quot;templafy&quot;:{&quot;id&quot;:&quot;03d7436d-13f5-4b9d-af88-ab7594b75faa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6523331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АО ДРТ</a:t>
            </a:r>
            <a:endParaRPr lang="fr-FR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66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300" b="0" kern="120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300" b="1" kern="1200" dirty="0" smtClean="0">
          <a:solidFill>
            <a:schemeClr val="bg1"/>
          </a:solidFill>
          <a:latin typeface="+mj-lt"/>
          <a:ea typeface="+mn-ea"/>
          <a:cs typeface="Calibri" panose="020F0502020204030204" pitchFamily="34" charset="0"/>
        </a:defRPr>
      </a:lvl2pPr>
      <a:lvl3pPr marL="18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3pPr>
      <a:lvl4pPr marL="36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4pPr>
      <a:lvl5pPr marL="540000" indent="-180000" algn="l" defTabSz="1064657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59">
          <p15:clr>
            <a:srgbClr val="A4A3A4"/>
          </p15:clr>
        </p15:guide>
        <p15:guide id="3" orient="horz" pos="3997">
          <p15:clr>
            <a:srgbClr val="A4A3A4"/>
          </p15:clr>
        </p15:guide>
        <p15:guide id="5" pos="7395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18">
          <p15:clr>
            <a:srgbClr val="A4A3A4"/>
          </p15:clr>
        </p15:guide>
        <p15:guide id="8" orient="horz" pos="4106">
          <p15:clr>
            <a:srgbClr val="A4A3A4"/>
          </p15:clr>
        </p15:guide>
        <p15:guide id="10" pos="4968">
          <p15:clr>
            <a:srgbClr val="A4A3A4"/>
          </p15:clr>
        </p15:guide>
        <p15:guide id="12" pos="1317">
          <p15:clr>
            <a:srgbClr val="A4A3A4"/>
          </p15:clr>
        </p15:guide>
        <p15:guide id="13" pos="1509">
          <p15:clr>
            <a:srgbClr val="A4A3A4"/>
          </p15:clr>
        </p15:guide>
        <p15:guide id="14" pos="2531">
          <p15:clr>
            <a:srgbClr val="A4A3A4"/>
          </p15:clr>
        </p15:guide>
        <p15:guide id="15" pos="2720">
          <p15:clr>
            <a:srgbClr val="A4A3A4"/>
          </p15:clr>
        </p15:guide>
        <p15:guide id="16" pos="6172">
          <p15:clr>
            <a:srgbClr val="A4A3A4"/>
          </p15:clr>
        </p15:guide>
        <p15:guide id="17" pos="3749">
          <p15:clr>
            <a:srgbClr val="A4A3A4"/>
          </p15:clr>
        </p15:guide>
        <p15:guide id="18" pos="3939">
          <p15:clr>
            <a:srgbClr val="A4A3A4"/>
          </p15:clr>
        </p15:guide>
        <p15:guide id="19" pos="3840">
          <p15:clr>
            <a:srgbClr val="A4A3A4"/>
          </p15:clr>
        </p15:guide>
        <p15:guide id="20" pos="6371">
          <p15:clr>
            <a:srgbClr val="A4A3A4"/>
          </p15:clr>
        </p15:guide>
        <p15:guide id="24" orient="horz" pos="434">
          <p15:clr>
            <a:srgbClr val="A4A3A4"/>
          </p15:clr>
        </p15:guide>
        <p15:guide id="27" pos="28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8788" y="1708835"/>
            <a:ext cx="11274425" cy="4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520949"/>
            <a:ext cx="4896560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b="1" noProof="0" dirty="0" err="1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Financial</a:t>
            </a:r>
            <a:r>
              <a:rPr lang="ru-RU" sz="680" b="1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err="1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due</a:t>
            </a:r>
            <a:r>
              <a:rPr lang="ru-RU" sz="680" b="1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err="1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diligence</a:t>
            </a:r>
            <a:r>
              <a:rPr lang="en-US" sz="680" b="1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ru-RU" sz="680" b="1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680" b="1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|</a:t>
            </a:r>
            <a:r>
              <a:rPr lang="en-US" sz="680" b="1" baseline="0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  </a:t>
            </a:r>
            <a:r>
              <a:rPr lang="ru-RU" sz="680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Как помочь инвестору не переплатить за сделку в рамках M&amp;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30510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8" name="text" descr="{&quot;templafy&quot;:{&quot;id&quot;:&quot;03d7436d-13f5-4b9d-af88-ab7594b75faa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6523331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АО ДРТ</a:t>
            </a:r>
            <a:endParaRPr lang="fr-FR" sz="680" noProof="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255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2pPr>
      <a:lvl3pPr marL="18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3pPr>
      <a:lvl4pPr marL="36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4pPr>
      <a:lvl5pPr marL="540000" indent="-180000" algn="l" defTabSz="1064657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300" kern="1200" baseline="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59">
          <p15:clr>
            <a:srgbClr val="A4A3A4"/>
          </p15:clr>
        </p15:guide>
        <p15:guide id="3" orient="horz" pos="3997">
          <p15:clr>
            <a:srgbClr val="A4A3A4"/>
          </p15:clr>
        </p15:guide>
        <p15:guide id="5" pos="7395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18">
          <p15:clr>
            <a:srgbClr val="A4A3A4"/>
          </p15:clr>
        </p15:guide>
        <p15:guide id="8" orient="horz" pos="4106">
          <p15:clr>
            <a:srgbClr val="A4A3A4"/>
          </p15:clr>
        </p15:guide>
        <p15:guide id="10" pos="4968">
          <p15:clr>
            <a:srgbClr val="A4A3A4"/>
          </p15:clr>
        </p15:guide>
        <p15:guide id="12" pos="1317">
          <p15:clr>
            <a:srgbClr val="A4A3A4"/>
          </p15:clr>
        </p15:guide>
        <p15:guide id="13" pos="1509">
          <p15:clr>
            <a:srgbClr val="A4A3A4"/>
          </p15:clr>
        </p15:guide>
        <p15:guide id="14" pos="2531">
          <p15:clr>
            <a:srgbClr val="A4A3A4"/>
          </p15:clr>
        </p15:guide>
        <p15:guide id="15" pos="2720">
          <p15:clr>
            <a:srgbClr val="A4A3A4"/>
          </p15:clr>
        </p15:guide>
        <p15:guide id="16" pos="6172">
          <p15:clr>
            <a:srgbClr val="A4A3A4"/>
          </p15:clr>
        </p15:guide>
        <p15:guide id="17" pos="3749">
          <p15:clr>
            <a:srgbClr val="A4A3A4"/>
          </p15:clr>
        </p15:guide>
        <p15:guide id="18" pos="3939">
          <p15:clr>
            <a:srgbClr val="A4A3A4"/>
          </p15:clr>
        </p15:guide>
        <p15:guide id="19" pos="3840">
          <p15:clr>
            <a:srgbClr val="A4A3A4"/>
          </p15:clr>
        </p15:guide>
        <p15:guide id="20" pos="6371">
          <p15:clr>
            <a:srgbClr val="A4A3A4"/>
          </p15:clr>
        </p15:guide>
        <p15:guide id="24" orient="horz" pos="434">
          <p15:clr>
            <a:srgbClr val="A4A3A4"/>
          </p15:clr>
        </p15:guide>
        <p15:guide id="27" pos="288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58788" y="1708835"/>
            <a:ext cx="11274425" cy="46364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30510" y="6520949"/>
            <a:ext cx="307975" cy="10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80" noProof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pPr marL="0" indent="0" algn="r">
                <a:spcBef>
                  <a:spcPts val="0"/>
                </a:spcBef>
                <a:buSzPct val="100000"/>
                <a:buFont typeface="Arial"/>
                <a:buNone/>
              </a:pPr>
              <a:t>‹#›</a:t>
            </a:fld>
            <a:endParaRPr lang="en-US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13" name="text" descr="{&quot;templafy&quot;:{&quot;id&quot;:&quot;03d7436d-13f5-4b9d-af88-ab7594b75faa&quot;}}" title="UserProfile.Language.Copyright">
            <a:extLst>
              <a:ext uri="{FF2B5EF4-FFF2-40B4-BE49-F238E27FC236}">
                <a16:creationId xmlns:a16="http://schemas.microsoft.com/office/drawing/2014/main" xmlns="" id="{1AD4C72A-BBD7-4A7D-8077-08BD6960851E}"/>
              </a:ext>
            </a:extLst>
          </p:cNvPr>
          <p:cNvSpPr txBox="1"/>
          <p:nvPr userDrawn="1"/>
        </p:nvSpPr>
        <p:spPr>
          <a:xfrm>
            <a:off x="460375" y="6523331"/>
            <a:ext cx="6416676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SzPct val="100000"/>
              <a:buFont typeface="Arial"/>
              <a:buNone/>
            </a:pPr>
            <a:r>
              <a:rPr lang="ru-RU" sz="680" noProof="0" dirty="0" smtClean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АО ДРТ</a:t>
            </a:r>
            <a:endParaRPr lang="fr-FR" sz="680" noProof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98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Calibri Light" panose="020F0302020204030204" pitchFamily="34" charset="0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300" b="0" kern="120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1pPr>
      <a:lvl2pPr marL="0" indent="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300" b="1" kern="1200" dirty="0" smtClean="0">
          <a:solidFill>
            <a:schemeClr val="bg1"/>
          </a:solidFill>
          <a:latin typeface="+mj-lt"/>
          <a:ea typeface="+mn-ea"/>
          <a:cs typeface="Calibri" panose="020F0502020204030204" pitchFamily="34" charset="0"/>
        </a:defRPr>
      </a:lvl2pPr>
      <a:lvl3pPr marL="18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3pPr>
      <a:lvl4pPr marL="360000" indent="-180000" algn="l" defTabSz="1219170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4pPr>
      <a:lvl5pPr marL="540000" indent="-180000" algn="l" defTabSz="1064657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300" kern="1200" baseline="0" dirty="0" smtClean="0">
          <a:solidFill>
            <a:schemeClr val="bg1"/>
          </a:solidFill>
          <a:latin typeface="+mj-lt"/>
          <a:ea typeface="+mn-ea"/>
          <a:cs typeface="Calibri Light" panose="020F030202020403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159">
          <p15:clr>
            <a:srgbClr val="A4A3A4"/>
          </p15:clr>
        </p15:guide>
        <p15:guide id="3" orient="horz" pos="3997">
          <p15:clr>
            <a:srgbClr val="A4A3A4"/>
          </p15:clr>
        </p15:guide>
        <p15:guide id="5" pos="7395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18">
          <p15:clr>
            <a:srgbClr val="A4A3A4"/>
          </p15:clr>
        </p15:guide>
        <p15:guide id="8" orient="horz" pos="4106">
          <p15:clr>
            <a:srgbClr val="A4A3A4"/>
          </p15:clr>
        </p15:guide>
        <p15:guide id="10" pos="4968">
          <p15:clr>
            <a:srgbClr val="A4A3A4"/>
          </p15:clr>
        </p15:guide>
        <p15:guide id="12" pos="1317">
          <p15:clr>
            <a:srgbClr val="A4A3A4"/>
          </p15:clr>
        </p15:guide>
        <p15:guide id="13" pos="1509">
          <p15:clr>
            <a:srgbClr val="A4A3A4"/>
          </p15:clr>
        </p15:guide>
        <p15:guide id="14" pos="2531">
          <p15:clr>
            <a:srgbClr val="A4A3A4"/>
          </p15:clr>
        </p15:guide>
        <p15:guide id="15" pos="2720">
          <p15:clr>
            <a:srgbClr val="A4A3A4"/>
          </p15:clr>
        </p15:guide>
        <p15:guide id="16" pos="6172">
          <p15:clr>
            <a:srgbClr val="A4A3A4"/>
          </p15:clr>
        </p15:guide>
        <p15:guide id="17" pos="3749">
          <p15:clr>
            <a:srgbClr val="A4A3A4"/>
          </p15:clr>
        </p15:guide>
        <p15:guide id="18" pos="3939">
          <p15:clr>
            <a:srgbClr val="A4A3A4"/>
          </p15:clr>
        </p15:guide>
        <p15:guide id="19" pos="3840">
          <p15:clr>
            <a:srgbClr val="A4A3A4"/>
          </p15:clr>
        </p15:guide>
        <p15:guide id="20" pos="6371">
          <p15:clr>
            <a:srgbClr val="A4A3A4"/>
          </p15:clr>
        </p15:guide>
        <p15:guide id="24" orient="horz" pos="434">
          <p15:clr>
            <a:srgbClr val="A4A3A4"/>
          </p15:clr>
        </p15:guide>
        <p15:guide id="27" pos="28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customXml" Target="../../customXml/item25.xml"/><Relationship Id="rId1" Type="http://schemas.openxmlformats.org/officeDocument/2006/relationships/customXml" Target="../../customXml/item7.xml"/><Relationship Id="rId4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customXml" Target="../../customXml/item41.xml"/><Relationship Id="rId1" Type="http://schemas.openxmlformats.org/officeDocument/2006/relationships/customXml" Target="../../customXml/item1.xml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novosibirsk.hh.ru/vacancy/95785907?hhtmFrom=employer_vacancies" TargetMode="External"/><Relationship Id="rId7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0.png"/><Relationship Id="rId5" Type="http://schemas.openxmlformats.org/officeDocument/2006/relationships/hyperlink" Target="https://feedback.delret.ru/#/candidate-registration/NOD_NSB_2024" TargetMode="External"/><Relationship Id="rId4" Type="http://schemas.openxmlformats.org/officeDocument/2006/relationships/image" Target="../media/image9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55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gray">
          <a:xfrm>
            <a:off x="-2" y="0"/>
            <a:ext cx="12192001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spPr>
        <p:txBody>
          <a:bodyPr vert="horz" lIns="36000" tIns="36000" rIns="36000" bIns="36000" rtlCol="0" anchor="ctr">
            <a:noAutofit/>
          </a:bodyPr>
          <a:lstStyle/>
          <a:p>
            <a:pPr algn="ctr">
              <a:spcAft>
                <a:spcPts val="600"/>
              </a:spcAft>
              <a:buSzPct val="100000"/>
              <a:buFont typeface="Arial" panose="020B0604020202020204" pitchFamily="34" charset="0"/>
              <a:buNone/>
            </a:pPr>
            <a:endParaRPr lang="en-US" sz="1300" dirty="0" err="1" smtClean="0"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53287" y="3209119"/>
            <a:ext cx="4931018" cy="1795363"/>
          </a:xfrm>
        </p:spPr>
        <p:txBody>
          <a:bodyPr anchor="ctr">
            <a:spAutoFit/>
          </a:bodyPr>
          <a:lstStyle/>
          <a:p>
            <a:pPr>
              <a:lnSpc>
                <a:spcPts val="7000"/>
              </a:lnSpc>
            </a:pPr>
            <a:r>
              <a:rPr lang="ru-RU" sz="6600" dirty="0" smtClean="0"/>
              <a:t>Знакомство </a:t>
            </a:r>
            <a:br>
              <a:rPr lang="ru-RU" sz="6600" dirty="0" smtClean="0"/>
            </a:br>
            <a:r>
              <a:rPr lang="ru-RU" sz="6600" dirty="0" smtClean="0"/>
              <a:t>с компанией</a:t>
            </a:r>
            <a:endParaRPr lang="ru-RU" sz="6600" dirty="0"/>
          </a:p>
        </p:txBody>
      </p:sp>
      <p:sp>
        <p:nvSpPr>
          <p:cNvPr id="2" name="TextBox 1"/>
          <p:cNvSpPr txBox="1"/>
          <p:nvPr/>
        </p:nvSpPr>
        <p:spPr>
          <a:xfrm>
            <a:off x="355600" y="3108684"/>
            <a:ext cx="2641600" cy="19962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19900" dirty="0" smtClean="0"/>
              <a:t>01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60700" y="3098800"/>
            <a:ext cx="0" cy="20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7529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Немного о ДРТ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010400" y="1136333"/>
            <a:ext cx="4729163" cy="550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ДРТ</a:t>
            </a:r>
            <a:r>
              <a:rPr kumimoji="0" lang="ru-RU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DD4C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является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одной из ведущих компаний,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редоставляющих услуги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в области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аудита, управленческого, финансового, налогового и юридического консультирования</a:t>
            </a:r>
            <a:endParaRPr kumimoji="0" lang="en-US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8DC63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рофессиональные знания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и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опыт </a:t>
            </a:r>
            <a:r>
              <a:rPr lang="ru-RU" altLang="en-US" sz="2200" b="1" dirty="0" smtClean="0">
                <a:solidFill>
                  <a:srgbClr val="8DC63F"/>
                </a:solidFill>
                <a:latin typeface="Calibri"/>
                <a:cs typeface="Segoe UI" panose="020B0502040204020203" pitchFamily="34" charset="0"/>
              </a:rPr>
              <a:t>около</a:t>
            </a:r>
            <a:r>
              <a:rPr kumimoji="0" lang="ru-RU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2 000 сотрудников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озволяют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нам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оказывать услуги крупнейшим государственным и частным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компаниям,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работающим в различных отраслях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экономики</a:t>
            </a:r>
            <a:endParaRPr kumimoji="0" lang="ru-RU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Группа компаний ДРТ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редставлена 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/>
            </a:r>
            <a:b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</a:b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в 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восьми городах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России,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Беларуси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b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</a:b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и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Казахстана — Москве, Санкт-Петербурге, Уфе,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Екатеринбурге,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Новосибирске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, Владивостоке, </a:t>
            </a:r>
            <a: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/>
            </a:r>
            <a:br>
              <a:rPr kumimoji="0" lang="en-US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</a:b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Минске 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и </a:t>
            </a:r>
            <a:r>
              <a:rPr kumimoji="0" lang="ru-RU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Астане</a:t>
            </a:r>
            <a:endParaRPr kumimoji="0" lang="ru-RU" altLang="en-US" sz="16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302" y="0"/>
            <a:ext cx="5958840" cy="6858000"/>
          </a:xfrm>
          <a:prstGeom prst="rect">
            <a:avLst/>
          </a:prstGeom>
        </p:spPr>
      </p:pic>
      <p:grpSp>
        <p:nvGrpSpPr>
          <p:cNvPr id="10" name="Graphic 4">
            <a:extLst>
              <a:ext uri="{FF2B5EF4-FFF2-40B4-BE49-F238E27FC236}">
                <a16:creationId xmlns:a16="http://schemas.microsoft.com/office/drawing/2014/main" xmlns="" id="{E0849CD7-2E2B-F940-AC1F-0E95CAE13B70}"/>
              </a:ext>
            </a:extLst>
          </p:cNvPr>
          <p:cNvGrpSpPr/>
          <p:nvPr/>
        </p:nvGrpSpPr>
        <p:grpSpPr>
          <a:xfrm>
            <a:off x="6252283" y="1255713"/>
            <a:ext cx="540000" cy="540000"/>
            <a:chOff x="2559808" y="2371173"/>
            <a:chExt cx="362313" cy="361971"/>
          </a:xfrm>
          <a:solidFill>
            <a:schemeClr val="bg1"/>
          </a:solidFill>
        </p:grpSpPr>
        <p:sp>
          <p:nvSpPr>
            <p:cNvPr id="11" name="Graphic 4">
              <a:extLst>
                <a:ext uri="{FF2B5EF4-FFF2-40B4-BE49-F238E27FC236}">
                  <a16:creationId xmlns:a16="http://schemas.microsoft.com/office/drawing/2014/main" xmlns="" id="{3E8C0913-81CC-E941-8C6A-F9C5EACB24C8}"/>
                </a:ext>
              </a:extLst>
            </p:cNvPr>
            <p:cNvSpPr/>
            <p:nvPr/>
          </p:nvSpPr>
          <p:spPr>
            <a:xfrm>
              <a:off x="2559808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xmlns="" id="{521B05A3-67A5-B940-8260-8C4469B72797}"/>
                </a:ext>
              </a:extLst>
            </p:cNvPr>
            <p:cNvSpPr/>
            <p:nvPr/>
          </p:nvSpPr>
          <p:spPr>
            <a:xfrm>
              <a:off x="2709972" y="2639939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xmlns="" id="{E23797AD-A870-8D4B-BCBA-5D15246F83D2}"/>
                </a:ext>
              </a:extLst>
            </p:cNvPr>
            <p:cNvSpPr/>
            <p:nvPr/>
          </p:nvSpPr>
          <p:spPr>
            <a:xfrm>
              <a:off x="2709972" y="2570992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xmlns="" id="{465ABB25-384E-AE48-8D81-F63E1AC50F99}"/>
                </a:ext>
              </a:extLst>
            </p:cNvPr>
            <p:cNvSpPr/>
            <p:nvPr/>
          </p:nvSpPr>
          <p:spPr>
            <a:xfrm>
              <a:off x="2709972" y="2502683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Graphic 4">
              <a:extLst>
                <a:ext uri="{FF2B5EF4-FFF2-40B4-BE49-F238E27FC236}">
                  <a16:creationId xmlns:a16="http://schemas.microsoft.com/office/drawing/2014/main" xmlns="" id="{F2A884A1-D4CA-F742-A5E9-7FFAEED49D36}"/>
                </a:ext>
              </a:extLst>
            </p:cNvPr>
            <p:cNvSpPr/>
            <p:nvPr/>
          </p:nvSpPr>
          <p:spPr>
            <a:xfrm>
              <a:off x="2647350" y="2451611"/>
              <a:ext cx="78045" cy="63839"/>
            </a:xfrm>
            <a:custGeom>
              <a:avLst/>
              <a:gdLst>
                <a:gd name="connsiteX0" fmla="*/ 15975 w 78045"/>
                <a:gd name="connsiteY0" fmla="*/ 63840 h 63839"/>
                <a:gd name="connsiteX1" fmla="*/ 39618 w 78045"/>
                <a:gd name="connsiteY1" fmla="*/ 63840 h 63839"/>
                <a:gd name="connsiteX2" fmla="*/ 55593 w 78045"/>
                <a:gd name="connsiteY2" fmla="*/ 47880 h 63839"/>
                <a:gd name="connsiteX3" fmla="*/ 55593 w 78045"/>
                <a:gd name="connsiteY3" fmla="*/ 30005 h 63839"/>
                <a:gd name="connsiteX4" fmla="*/ 76040 w 78045"/>
                <a:gd name="connsiteY4" fmla="*/ 10853 h 63839"/>
                <a:gd name="connsiteX5" fmla="*/ 76679 w 78045"/>
                <a:gd name="connsiteY5" fmla="*/ 1915 h 63839"/>
                <a:gd name="connsiteX6" fmla="*/ 76679 w 78045"/>
                <a:gd name="connsiteY6" fmla="*/ 1915 h 63839"/>
                <a:gd name="connsiteX7" fmla="*/ 67733 w 78045"/>
                <a:gd name="connsiteY7" fmla="*/ 1915 h 63839"/>
                <a:gd name="connsiteX8" fmla="*/ 51759 w 78045"/>
                <a:gd name="connsiteY8" fmla="*/ 16598 h 63839"/>
                <a:gd name="connsiteX9" fmla="*/ 39618 w 78045"/>
                <a:gd name="connsiteY9" fmla="*/ 10853 h 63839"/>
                <a:gd name="connsiteX10" fmla="*/ 15975 w 78045"/>
                <a:gd name="connsiteY10" fmla="*/ 10853 h 63839"/>
                <a:gd name="connsiteX11" fmla="*/ 0 w 78045"/>
                <a:gd name="connsiteY11" fmla="*/ 26813 h 63839"/>
                <a:gd name="connsiteX12" fmla="*/ 0 w 78045"/>
                <a:gd name="connsiteY12" fmla="*/ 48518 h 63839"/>
                <a:gd name="connsiteX13" fmla="*/ 15975 w 78045"/>
                <a:gd name="connsiteY13" fmla="*/ 63840 h 63839"/>
                <a:gd name="connsiteX14" fmla="*/ 15975 w 78045"/>
                <a:gd name="connsiteY14" fmla="*/ 63840 h 63839"/>
                <a:gd name="connsiteX15" fmla="*/ 42813 w 78045"/>
                <a:gd name="connsiteY15" fmla="*/ 47880 h 63839"/>
                <a:gd name="connsiteX16" fmla="*/ 39618 w 78045"/>
                <a:gd name="connsiteY16" fmla="*/ 51072 h 63839"/>
                <a:gd name="connsiteX17" fmla="*/ 15975 w 78045"/>
                <a:gd name="connsiteY17" fmla="*/ 51072 h 63839"/>
                <a:gd name="connsiteX18" fmla="*/ 12780 w 78045"/>
                <a:gd name="connsiteY18" fmla="*/ 47880 h 63839"/>
                <a:gd name="connsiteX19" fmla="*/ 12780 w 78045"/>
                <a:gd name="connsiteY19" fmla="*/ 37027 h 63839"/>
                <a:gd name="connsiteX20" fmla="*/ 25560 w 78045"/>
                <a:gd name="connsiteY20" fmla="*/ 49157 h 63839"/>
                <a:gd name="connsiteX21" fmla="*/ 30033 w 78045"/>
                <a:gd name="connsiteY21" fmla="*/ 51072 h 63839"/>
                <a:gd name="connsiteX22" fmla="*/ 34506 w 78045"/>
                <a:gd name="connsiteY22" fmla="*/ 49157 h 63839"/>
                <a:gd name="connsiteX23" fmla="*/ 42174 w 78045"/>
                <a:gd name="connsiteY23" fmla="*/ 42134 h 63839"/>
                <a:gd name="connsiteX24" fmla="*/ 42174 w 78045"/>
                <a:gd name="connsiteY24" fmla="*/ 47880 h 63839"/>
                <a:gd name="connsiteX25" fmla="*/ 15975 w 78045"/>
                <a:gd name="connsiteY25" fmla="*/ 23621 h 63839"/>
                <a:gd name="connsiteX26" fmla="*/ 39618 w 78045"/>
                <a:gd name="connsiteY26" fmla="*/ 23621 h 63839"/>
                <a:gd name="connsiteX27" fmla="*/ 42174 w 78045"/>
                <a:gd name="connsiteY27" fmla="*/ 24897 h 63839"/>
                <a:gd name="connsiteX28" fmla="*/ 30672 w 78045"/>
                <a:gd name="connsiteY28" fmla="*/ 35750 h 63839"/>
                <a:gd name="connsiteX29" fmla="*/ 21087 w 78045"/>
                <a:gd name="connsiteY29" fmla="*/ 26813 h 63839"/>
                <a:gd name="connsiteX30" fmla="*/ 13419 w 78045"/>
                <a:gd name="connsiteY30" fmla="*/ 26174 h 63839"/>
                <a:gd name="connsiteX31" fmla="*/ 13419 w 78045"/>
                <a:gd name="connsiteY31" fmla="*/ 26174 h 63839"/>
                <a:gd name="connsiteX32" fmla="*/ 15975 w 78045"/>
                <a:gd name="connsiteY32" fmla="*/ 23621 h 63839"/>
                <a:gd name="connsiteX33" fmla="*/ 15975 w 78045"/>
                <a:gd name="connsiteY33" fmla="*/ 23621 h 63839"/>
                <a:gd name="connsiteX34" fmla="*/ 15975 w 78045"/>
                <a:gd name="connsiteY34" fmla="*/ 23621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045" h="63839">
                  <a:moveTo>
                    <a:pt x="15975" y="63840"/>
                  </a:moveTo>
                  <a:lnTo>
                    <a:pt x="39618" y="63840"/>
                  </a:lnTo>
                  <a:cubicBezTo>
                    <a:pt x="48564" y="63840"/>
                    <a:pt x="55593" y="56817"/>
                    <a:pt x="55593" y="47880"/>
                  </a:cubicBezTo>
                  <a:lnTo>
                    <a:pt x="55593" y="30005"/>
                  </a:lnTo>
                  <a:lnTo>
                    <a:pt x="76040" y="10853"/>
                  </a:lnTo>
                  <a:cubicBezTo>
                    <a:pt x="78596" y="8299"/>
                    <a:pt x="78596" y="4469"/>
                    <a:pt x="76679" y="1915"/>
                  </a:cubicBezTo>
                  <a:cubicBezTo>
                    <a:pt x="76679" y="1915"/>
                    <a:pt x="76679" y="1915"/>
                    <a:pt x="76679" y="1915"/>
                  </a:cubicBezTo>
                  <a:cubicBezTo>
                    <a:pt x="74123" y="-638"/>
                    <a:pt x="70289" y="-638"/>
                    <a:pt x="67733" y="1915"/>
                  </a:cubicBezTo>
                  <a:lnTo>
                    <a:pt x="51759" y="16598"/>
                  </a:lnTo>
                  <a:cubicBezTo>
                    <a:pt x="48564" y="12768"/>
                    <a:pt x="44730" y="10853"/>
                    <a:pt x="39618" y="10853"/>
                  </a:cubicBezTo>
                  <a:lnTo>
                    <a:pt x="15975" y="10853"/>
                  </a:lnTo>
                  <a:cubicBezTo>
                    <a:pt x="7029" y="10853"/>
                    <a:pt x="0" y="17875"/>
                    <a:pt x="0" y="26813"/>
                  </a:cubicBezTo>
                  <a:lnTo>
                    <a:pt x="0" y="48518"/>
                  </a:lnTo>
                  <a:cubicBezTo>
                    <a:pt x="639" y="56817"/>
                    <a:pt x="7668" y="63840"/>
                    <a:pt x="15975" y="63840"/>
                  </a:cubicBezTo>
                  <a:lnTo>
                    <a:pt x="15975" y="63840"/>
                  </a:lnTo>
                  <a:close/>
                  <a:moveTo>
                    <a:pt x="42813" y="47880"/>
                  </a:moveTo>
                  <a:cubicBezTo>
                    <a:pt x="42813" y="49795"/>
                    <a:pt x="41535" y="51072"/>
                    <a:pt x="39618" y="51072"/>
                  </a:cubicBezTo>
                  <a:lnTo>
                    <a:pt x="15975" y="51072"/>
                  </a:lnTo>
                  <a:cubicBezTo>
                    <a:pt x="14058" y="51072"/>
                    <a:pt x="12780" y="49795"/>
                    <a:pt x="12780" y="47880"/>
                  </a:cubicBezTo>
                  <a:lnTo>
                    <a:pt x="12780" y="37027"/>
                  </a:lnTo>
                  <a:lnTo>
                    <a:pt x="25560" y="49157"/>
                  </a:lnTo>
                  <a:cubicBezTo>
                    <a:pt x="26838" y="50433"/>
                    <a:pt x="28116" y="51072"/>
                    <a:pt x="30033" y="51072"/>
                  </a:cubicBezTo>
                  <a:cubicBezTo>
                    <a:pt x="31950" y="51072"/>
                    <a:pt x="33228" y="50433"/>
                    <a:pt x="34506" y="49157"/>
                  </a:cubicBezTo>
                  <a:lnTo>
                    <a:pt x="42174" y="42134"/>
                  </a:lnTo>
                  <a:lnTo>
                    <a:pt x="42174" y="47880"/>
                  </a:lnTo>
                  <a:close/>
                  <a:moveTo>
                    <a:pt x="15975" y="23621"/>
                  </a:moveTo>
                  <a:lnTo>
                    <a:pt x="39618" y="23621"/>
                  </a:lnTo>
                  <a:cubicBezTo>
                    <a:pt x="40896" y="23621"/>
                    <a:pt x="41535" y="24259"/>
                    <a:pt x="42174" y="24897"/>
                  </a:cubicBezTo>
                  <a:lnTo>
                    <a:pt x="30672" y="35750"/>
                  </a:lnTo>
                  <a:lnTo>
                    <a:pt x="21087" y="26813"/>
                  </a:lnTo>
                  <a:cubicBezTo>
                    <a:pt x="19170" y="24897"/>
                    <a:pt x="15336" y="24897"/>
                    <a:pt x="13419" y="26174"/>
                  </a:cubicBezTo>
                  <a:lnTo>
                    <a:pt x="13419" y="26174"/>
                  </a:lnTo>
                  <a:cubicBezTo>
                    <a:pt x="13419" y="24897"/>
                    <a:pt x="14697" y="23621"/>
                    <a:pt x="15975" y="23621"/>
                  </a:cubicBezTo>
                  <a:cubicBezTo>
                    <a:pt x="15975" y="23621"/>
                    <a:pt x="15975" y="23621"/>
                    <a:pt x="15975" y="23621"/>
                  </a:cubicBezTo>
                  <a:lnTo>
                    <a:pt x="15975" y="2362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Graphic 4">
              <a:extLst>
                <a:ext uri="{FF2B5EF4-FFF2-40B4-BE49-F238E27FC236}">
                  <a16:creationId xmlns:a16="http://schemas.microsoft.com/office/drawing/2014/main" xmlns="" id="{2D57A288-B39D-7642-B7BF-F827B4224DFD}"/>
                </a:ext>
              </a:extLst>
            </p:cNvPr>
            <p:cNvSpPr/>
            <p:nvPr/>
          </p:nvSpPr>
          <p:spPr>
            <a:xfrm>
              <a:off x="2647350" y="2519832"/>
              <a:ext cx="78045" cy="63928"/>
            </a:xfrm>
            <a:custGeom>
              <a:avLst/>
              <a:gdLst>
                <a:gd name="connsiteX0" fmla="*/ 15975 w 78045"/>
                <a:gd name="connsiteY0" fmla="*/ 63928 h 63928"/>
                <a:gd name="connsiteX1" fmla="*/ 39618 w 78045"/>
                <a:gd name="connsiteY1" fmla="*/ 63928 h 63928"/>
                <a:gd name="connsiteX2" fmla="*/ 55593 w 78045"/>
                <a:gd name="connsiteY2" fmla="*/ 47968 h 63928"/>
                <a:gd name="connsiteX3" fmla="*/ 55593 w 78045"/>
                <a:gd name="connsiteY3" fmla="*/ 30093 h 63928"/>
                <a:gd name="connsiteX4" fmla="*/ 76040 w 78045"/>
                <a:gd name="connsiteY4" fmla="*/ 10941 h 63928"/>
                <a:gd name="connsiteX5" fmla="*/ 76679 w 78045"/>
                <a:gd name="connsiteY5" fmla="*/ 2004 h 63928"/>
                <a:gd name="connsiteX6" fmla="*/ 67733 w 78045"/>
                <a:gd name="connsiteY6" fmla="*/ 1365 h 63928"/>
                <a:gd name="connsiteX7" fmla="*/ 67733 w 78045"/>
                <a:gd name="connsiteY7" fmla="*/ 1365 h 63928"/>
                <a:gd name="connsiteX8" fmla="*/ 51759 w 78045"/>
                <a:gd name="connsiteY8" fmla="*/ 16048 h 63928"/>
                <a:gd name="connsiteX9" fmla="*/ 39618 w 78045"/>
                <a:gd name="connsiteY9" fmla="*/ 10303 h 63928"/>
                <a:gd name="connsiteX10" fmla="*/ 15975 w 78045"/>
                <a:gd name="connsiteY10" fmla="*/ 10303 h 63928"/>
                <a:gd name="connsiteX11" fmla="*/ 0 w 78045"/>
                <a:gd name="connsiteY11" fmla="*/ 26263 h 63928"/>
                <a:gd name="connsiteX12" fmla="*/ 0 w 78045"/>
                <a:gd name="connsiteY12" fmla="*/ 47968 h 63928"/>
                <a:gd name="connsiteX13" fmla="*/ 15975 w 78045"/>
                <a:gd name="connsiteY13" fmla="*/ 63928 h 63928"/>
                <a:gd name="connsiteX14" fmla="*/ 42813 w 78045"/>
                <a:gd name="connsiteY14" fmla="*/ 48607 h 63928"/>
                <a:gd name="connsiteX15" fmla="*/ 39618 w 78045"/>
                <a:gd name="connsiteY15" fmla="*/ 51799 h 63928"/>
                <a:gd name="connsiteX16" fmla="*/ 15975 w 78045"/>
                <a:gd name="connsiteY16" fmla="*/ 51799 h 63928"/>
                <a:gd name="connsiteX17" fmla="*/ 12780 w 78045"/>
                <a:gd name="connsiteY17" fmla="*/ 48607 h 63928"/>
                <a:gd name="connsiteX18" fmla="*/ 12780 w 78045"/>
                <a:gd name="connsiteY18" fmla="*/ 37754 h 63928"/>
                <a:gd name="connsiteX19" fmla="*/ 25560 w 78045"/>
                <a:gd name="connsiteY19" fmla="*/ 49883 h 63928"/>
                <a:gd name="connsiteX20" fmla="*/ 34506 w 78045"/>
                <a:gd name="connsiteY20" fmla="*/ 49883 h 63928"/>
                <a:gd name="connsiteX21" fmla="*/ 42174 w 78045"/>
                <a:gd name="connsiteY21" fmla="*/ 42861 h 63928"/>
                <a:gd name="connsiteX22" fmla="*/ 42813 w 78045"/>
                <a:gd name="connsiteY22" fmla="*/ 48607 h 63928"/>
                <a:gd name="connsiteX23" fmla="*/ 15975 w 78045"/>
                <a:gd name="connsiteY23" fmla="*/ 23709 h 63928"/>
                <a:gd name="connsiteX24" fmla="*/ 39618 w 78045"/>
                <a:gd name="connsiteY24" fmla="*/ 23709 h 63928"/>
                <a:gd name="connsiteX25" fmla="*/ 42174 w 78045"/>
                <a:gd name="connsiteY25" fmla="*/ 24986 h 63928"/>
                <a:gd name="connsiteX26" fmla="*/ 30033 w 78045"/>
                <a:gd name="connsiteY26" fmla="*/ 35839 h 63928"/>
                <a:gd name="connsiteX27" fmla="*/ 20448 w 78045"/>
                <a:gd name="connsiteY27" fmla="*/ 26901 h 63928"/>
                <a:gd name="connsiteX28" fmla="*/ 12780 w 78045"/>
                <a:gd name="connsiteY28" fmla="*/ 26263 h 63928"/>
                <a:gd name="connsiteX29" fmla="*/ 12780 w 78045"/>
                <a:gd name="connsiteY29" fmla="*/ 26263 h 63928"/>
                <a:gd name="connsiteX30" fmla="*/ 15975 w 78045"/>
                <a:gd name="connsiteY30" fmla="*/ 23709 h 63928"/>
                <a:gd name="connsiteX31" fmla="*/ 15975 w 78045"/>
                <a:gd name="connsiteY31" fmla="*/ 23709 h 63928"/>
                <a:gd name="connsiteX32" fmla="*/ 15975 w 78045"/>
                <a:gd name="connsiteY32" fmla="*/ 23709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8045" h="63928">
                  <a:moveTo>
                    <a:pt x="15975" y="63928"/>
                  </a:move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639" y="56906"/>
                    <a:pt x="7668" y="63928"/>
                    <a:pt x="15975" y="63928"/>
                  </a:cubicBezTo>
                  <a:close/>
                  <a:moveTo>
                    <a:pt x="42813" y="48607"/>
                  </a:moveTo>
                  <a:cubicBezTo>
                    <a:pt x="42813" y="50522"/>
                    <a:pt x="41535" y="51799"/>
                    <a:pt x="39618" y="51799"/>
                  </a:cubicBezTo>
                  <a:lnTo>
                    <a:pt x="15975" y="51799"/>
                  </a:lnTo>
                  <a:cubicBezTo>
                    <a:pt x="14058" y="51799"/>
                    <a:pt x="12780" y="50522"/>
                    <a:pt x="12780" y="48607"/>
                  </a:cubicBezTo>
                  <a:lnTo>
                    <a:pt x="12780" y="37754"/>
                  </a:lnTo>
                  <a:lnTo>
                    <a:pt x="25560" y="49883"/>
                  </a:lnTo>
                  <a:cubicBezTo>
                    <a:pt x="28116" y="51799"/>
                    <a:pt x="31950" y="51799"/>
                    <a:pt x="34506" y="49883"/>
                  </a:cubicBezTo>
                  <a:lnTo>
                    <a:pt x="42174" y="42861"/>
                  </a:lnTo>
                  <a:lnTo>
                    <a:pt x="42813" y="48607"/>
                  </a:lnTo>
                  <a:close/>
                  <a:moveTo>
                    <a:pt x="15975" y="23709"/>
                  </a:moveTo>
                  <a:lnTo>
                    <a:pt x="39618" y="23709"/>
                  </a:lnTo>
                  <a:cubicBezTo>
                    <a:pt x="40896" y="23709"/>
                    <a:pt x="41535" y="24347"/>
                    <a:pt x="42174" y="24986"/>
                  </a:cubicBezTo>
                  <a:lnTo>
                    <a:pt x="30033" y="35839"/>
                  </a:lnTo>
                  <a:lnTo>
                    <a:pt x="20448" y="26901"/>
                  </a:lnTo>
                  <a:cubicBezTo>
                    <a:pt x="18531" y="24986"/>
                    <a:pt x="14697" y="24986"/>
                    <a:pt x="12780" y="26263"/>
                  </a:cubicBezTo>
                  <a:lnTo>
                    <a:pt x="12780" y="26263"/>
                  </a:lnTo>
                  <a:cubicBezTo>
                    <a:pt x="12780" y="25624"/>
                    <a:pt x="14058" y="23709"/>
                    <a:pt x="15975" y="23709"/>
                  </a:cubicBezTo>
                  <a:cubicBezTo>
                    <a:pt x="15975" y="23709"/>
                    <a:pt x="15975" y="23709"/>
                    <a:pt x="15975" y="23709"/>
                  </a:cubicBezTo>
                  <a:lnTo>
                    <a:pt x="15975" y="2370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Graphic 4">
              <a:extLst>
                <a:ext uri="{FF2B5EF4-FFF2-40B4-BE49-F238E27FC236}">
                  <a16:creationId xmlns:a16="http://schemas.microsoft.com/office/drawing/2014/main" xmlns="" id="{D9CADEC1-E852-9349-975E-131498F5192B}"/>
                </a:ext>
              </a:extLst>
            </p:cNvPr>
            <p:cNvSpPr/>
            <p:nvPr/>
          </p:nvSpPr>
          <p:spPr>
            <a:xfrm>
              <a:off x="2647350" y="2588779"/>
              <a:ext cx="78045" cy="63928"/>
            </a:xfrm>
            <a:custGeom>
              <a:avLst/>
              <a:gdLst>
                <a:gd name="connsiteX0" fmla="*/ 76040 w 78045"/>
                <a:gd name="connsiteY0" fmla="*/ 10941 h 63928"/>
                <a:gd name="connsiteX1" fmla="*/ 76679 w 78045"/>
                <a:gd name="connsiteY1" fmla="*/ 2004 h 63928"/>
                <a:gd name="connsiteX2" fmla="*/ 67733 w 78045"/>
                <a:gd name="connsiteY2" fmla="*/ 1365 h 63928"/>
                <a:gd name="connsiteX3" fmla="*/ 67733 w 78045"/>
                <a:gd name="connsiteY3" fmla="*/ 1365 h 63928"/>
                <a:gd name="connsiteX4" fmla="*/ 51759 w 78045"/>
                <a:gd name="connsiteY4" fmla="*/ 16048 h 63928"/>
                <a:gd name="connsiteX5" fmla="*/ 39618 w 78045"/>
                <a:gd name="connsiteY5" fmla="*/ 10303 h 63928"/>
                <a:gd name="connsiteX6" fmla="*/ 15975 w 78045"/>
                <a:gd name="connsiteY6" fmla="*/ 10303 h 63928"/>
                <a:gd name="connsiteX7" fmla="*/ 0 w 78045"/>
                <a:gd name="connsiteY7" fmla="*/ 26263 h 63928"/>
                <a:gd name="connsiteX8" fmla="*/ 0 w 78045"/>
                <a:gd name="connsiteY8" fmla="*/ 47968 h 63928"/>
                <a:gd name="connsiteX9" fmla="*/ 15975 w 78045"/>
                <a:gd name="connsiteY9" fmla="*/ 63928 h 63928"/>
                <a:gd name="connsiteX10" fmla="*/ 39618 w 78045"/>
                <a:gd name="connsiteY10" fmla="*/ 63928 h 63928"/>
                <a:gd name="connsiteX11" fmla="*/ 55593 w 78045"/>
                <a:gd name="connsiteY11" fmla="*/ 47968 h 63928"/>
                <a:gd name="connsiteX12" fmla="*/ 55593 w 78045"/>
                <a:gd name="connsiteY12" fmla="*/ 30093 h 63928"/>
                <a:gd name="connsiteX13" fmla="*/ 76040 w 78045"/>
                <a:gd name="connsiteY13" fmla="*/ 10941 h 63928"/>
                <a:gd name="connsiteX14" fmla="*/ 15975 w 78045"/>
                <a:gd name="connsiteY14" fmla="*/ 23071 h 63928"/>
                <a:gd name="connsiteX15" fmla="*/ 39618 w 78045"/>
                <a:gd name="connsiteY15" fmla="*/ 23071 h 63928"/>
                <a:gd name="connsiteX16" fmla="*/ 42174 w 78045"/>
                <a:gd name="connsiteY16" fmla="*/ 24348 h 63928"/>
                <a:gd name="connsiteX17" fmla="*/ 30033 w 78045"/>
                <a:gd name="connsiteY17" fmla="*/ 35200 h 63928"/>
                <a:gd name="connsiteX18" fmla="*/ 20448 w 78045"/>
                <a:gd name="connsiteY18" fmla="*/ 26263 h 63928"/>
                <a:gd name="connsiteX19" fmla="*/ 12780 w 78045"/>
                <a:gd name="connsiteY19" fmla="*/ 25624 h 63928"/>
                <a:gd name="connsiteX20" fmla="*/ 12780 w 78045"/>
                <a:gd name="connsiteY20" fmla="*/ 25624 h 63928"/>
                <a:gd name="connsiteX21" fmla="*/ 15975 w 78045"/>
                <a:gd name="connsiteY21" fmla="*/ 23071 h 63928"/>
                <a:gd name="connsiteX22" fmla="*/ 15975 w 78045"/>
                <a:gd name="connsiteY22" fmla="*/ 23071 h 63928"/>
                <a:gd name="connsiteX23" fmla="*/ 42813 w 78045"/>
                <a:gd name="connsiteY23" fmla="*/ 47968 h 63928"/>
                <a:gd name="connsiteX24" fmla="*/ 39618 w 78045"/>
                <a:gd name="connsiteY24" fmla="*/ 51160 h 63928"/>
                <a:gd name="connsiteX25" fmla="*/ 15975 w 78045"/>
                <a:gd name="connsiteY25" fmla="*/ 51160 h 63928"/>
                <a:gd name="connsiteX26" fmla="*/ 12780 w 78045"/>
                <a:gd name="connsiteY26" fmla="*/ 47968 h 63928"/>
                <a:gd name="connsiteX27" fmla="*/ 12780 w 78045"/>
                <a:gd name="connsiteY27" fmla="*/ 37116 h 63928"/>
                <a:gd name="connsiteX28" fmla="*/ 25560 w 78045"/>
                <a:gd name="connsiteY28" fmla="*/ 49245 h 63928"/>
                <a:gd name="connsiteX29" fmla="*/ 34506 w 78045"/>
                <a:gd name="connsiteY29" fmla="*/ 49245 h 63928"/>
                <a:gd name="connsiteX30" fmla="*/ 42174 w 78045"/>
                <a:gd name="connsiteY30" fmla="*/ 42223 h 63928"/>
                <a:gd name="connsiteX31" fmla="*/ 42813 w 78045"/>
                <a:gd name="connsiteY31" fmla="*/ 47968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8045" h="63928">
                  <a:moveTo>
                    <a:pt x="76040" y="10941"/>
                  </a:move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0" y="56906"/>
                    <a:pt x="7029" y="63928"/>
                    <a:pt x="15975" y="63928"/>
                  </a:cubicBez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lose/>
                  <a:moveTo>
                    <a:pt x="15975" y="23071"/>
                  </a:moveTo>
                  <a:lnTo>
                    <a:pt x="39618" y="23071"/>
                  </a:lnTo>
                  <a:cubicBezTo>
                    <a:pt x="40896" y="23071"/>
                    <a:pt x="41535" y="23709"/>
                    <a:pt x="42174" y="24348"/>
                  </a:cubicBezTo>
                  <a:lnTo>
                    <a:pt x="30033" y="35200"/>
                  </a:lnTo>
                  <a:lnTo>
                    <a:pt x="20448" y="26263"/>
                  </a:lnTo>
                  <a:cubicBezTo>
                    <a:pt x="18531" y="24348"/>
                    <a:pt x="14697" y="24348"/>
                    <a:pt x="12780" y="25624"/>
                  </a:cubicBezTo>
                  <a:lnTo>
                    <a:pt x="12780" y="25624"/>
                  </a:lnTo>
                  <a:cubicBezTo>
                    <a:pt x="12780" y="24986"/>
                    <a:pt x="14058" y="23709"/>
                    <a:pt x="15975" y="23071"/>
                  </a:cubicBezTo>
                  <a:cubicBezTo>
                    <a:pt x="15975" y="23709"/>
                    <a:pt x="15975" y="23709"/>
                    <a:pt x="15975" y="23071"/>
                  </a:cubicBezTo>
                  <a:close/>
                  <a:moveTo>
                    <a:pt x="42813" y="47968"/>
                  </a:moveTo>
                  <a:cubicBezTo>
                    <a:pt x="42813" y="49884"/>
                    <a:pt x="41535" y="51160"/>
                    <a:pt x="39618" y="51160"/>
                  </a:cubicBezTo>
                  <a:lnTo>
                    <a:pt x="15975" y="51160"/>
                  </a:lnTo>
                  <a:cubicBezTo>
                    <a:pt x="14058" y="51160"/>
                    <a:pt x="12780" y="49884"/>
                    <a:pt x="12780" y="47968"/>
                  </a:cubicBezTo>
                  <a:lnTo>
                    <a:pt x="12780" y="37116"/>
                  </a:lnTo>
                  <a:lnTo>
                    <a:pt x="25560" y="49245"/>
                  </a:lnTo>
                  <a:cubicBezTo>
                    <a:pt x="28116" y="51160"/>
                    <a:pt x="31950" y="51160"/>
                    <a:pt x="34506" y="49245"/>
                  </a:cubicBezTo>
                  <a:lnTo>
                    <a:pt x="42174" y="42223"/>
                  </a:lnTo>
                  <a:lnTo>
                    <a:pt x="42813" y="479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6252283" y="2921000"/>
            <a:ext cx="548728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aphic 4">
            <a:extLst>
              <a:ext uri="{FF2B5EF4-FFF2-40B4-BE49-F238E27FC236}">
                <a16:creationId xmlns:a16="http://schemas.microsoft.com/office/drawing/2014/main" xmlns="" id="{9768D1A2-DEDF-FB44-9B88-A0DAB078FD75}"/>
              </a:ext>
            </a:extLst>
          </p:cNvPr>
          <p:cNvGrpSpPr/>
          <p:nvPr/>
        </p:nvGrpSpPr>
        <p:grpSpPr>
          <a:xfrm>
            <a:off x="6252283" y="3119800"/>
            <a:ext cx="540000" cy="540000"/>
            <a:chOff x="1515054" y="3339623"/>
            <a:chExt cx="362309" cy="361971"/>
          </a:xfrm>
          <a:solidFill>
            <a:schemeClr val="bg1"/>
          </a:solidFill>
        </p:grpSpPr>
        <p:sp>
          <p:nvSpPr>
            <p:cNvPr id="20" name="Graphic 4">
              <a:extLst>
                <a:ext uri="{FF2B5EF4-FFF2-40B4-BE49-F238E27FC236}">
                  <a16:creationId xmlns:a16="http://schemas.microsoft.com/office/drawing/2014/main" xmlns="" id="{ECBBCD3E-4761-3B42-AAEC-F95C5241F7B3}"/>
                </a:ext>
              </a:extLst>
            </p:cNvPr>
            <p:cNvSpPr/>
            <p:nvPr/>
          </p:nvSpPr>
          <p:spPr>
            <a:xfrm>
              <a:off x="1515054" y="33396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5 w 362309"/>
                <a:gd name="connsiteY5" fmla="*/ 0 h 361971"/>
                <a:gd name="connsiteX6" fmla="*/ 180835 w 362309"/>
                <a:gd name="connsiteY6" fmla="*/ 349204 h 361971"/>
                <a:gd name="connsiteX7" fmla="*/ 12780 w 362309"/>
                <a:gd name="connsiteY7" fmla="*/ 180667 h 361971"/>
                <a:gd name="connsiteX8" fmla="*/ 180835 w 362309"/>
                <a:gd name="connsiteY8" fmla="*/ 12768 h 361971"/>
                <a:gd name="connsiteX9" fmla="*/ 349529 w 362309"/>
                <a:gd name="connsiteY9" fmla="*/ 181305 h 361971"/>
                <a:gd name="connsiteX10" fmla="*/ 349529 w 362309"/>
                <a:gd name="connsiteY10" fmla="*/ 181305 h 361971"/>
                <a:gd name="connsiteX11" fmla="*/ 180835 w 362309"/>
                <a:gd name="connsiteY11" fmla="*/ 349204 h 361971"/>
                <a:gd name="connsiteX12" fmla="*/ 180835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1305"/>
                  </a:cubicBezTo>
                  <a:lnTo>
                    <a:pt x="349529" y="181305"/>
                  </a:lnTo>
                  <a:cubicBezTo>
                    <a:pt x="348891" y="273873"/>
                    <a:pt x="273489" y="349204"/>
                    <a:pt x="180835" y="349204"/>
                  </a:cubicBezTo>
                  <a:lnTo>
                    <a:pt x="180835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Graphic 4">
              <a:extLst>
                <a:ext uri="{FF2B5EF4-FFF2-40B4-BE49-F238E27FC236}">
                  <a16:creationId xmlns:a16="http://schemas.microsoft.com/office/drawing/2014/main" xmlns="" id="{02028FBC-ACE6-1D4A-A98C-9E5010843805}"/>
                </a:ext>
              </a:extLst>
            </p:cNvPr>
            <p:cNvSpPr/>
            <p:nvPr/>
          </p:nvSpPr>
          <p:spPr>
            <a:xfrm>
              <a:off x="1655387" y="3442979"/>
              <a:ext cx="81466" cy="93909"/>
            </a:xfrm>
            <a:custGeom>
              <a:avLst/>
              <a:gdLst>
                <a:gd name="connsiteX0" fmla="*/ 9191 w 81466"/>
                <a:gd name="connsiteY0" fmla="*/ 65819 h 93909"/>
                <a:gd name="connsiteX1" fmla="*/ 16859 w 81466"/>
                <a:gd name="connsiteY1" fmla="*/ 87525 h 93909"/>
                <a:gd name="connsiteX2" fmla="*/ 23249 w 81466"/>
                <a:gd name="connsiteY2" fmla="*/ 93909 h 93909"/>
                <a:gd name="connsiteX3" fmla="*/ 57754 w 81466"/>
                <a:gd name="connsiteY3" fmla="*/ 93909 h 93909"/>
                <a:gd name="connsiteX4" fmla="*/ 64144 w 81466"/>
                <a:gd name="connsiteY4" fmla="*/ 87525 h 93909"/>
                <a:gd name="connsiteX5" fmla="*/ 71812 w 81466"/>
                <a:gd name="connsiteY5" fmla="*/ 65819 h 93909"/>
                <a:gd name="connsiteX6" fmla="*/ 81397 w 81466"/>
                <a:gd name="connsiteY6" fmla="*/ 39007 h 93909"/>
                <a:gd name="connsiteX7" fmla="*/ 39224 w 81466"/>
                <a:gd name="connsiteY7" fmla="*/ 64 h 93909"/>
                <a:gd name="connsiteX8" fmla="*/ 245 w 81466"/>
                <a:gd name="connsiteY8" fmla="*/ 39007 h 93909"/>
                <a:gd name="connsiteX9" fmla="*/ 9191 w 81466"/>
                <a:gd name="connsiteY9" fmla="*/ 65819 h 93909"/>
                <a:gd name="connsiteX10" fmla="*/ 40501 w 81466"/>
                <a:gd name="connsiteY10" fmla="*/ 11555 h 93909"/>
                <a:gd name="connsiteX11" fmla="*/ 68617 w 81466"/>
                <a:gd name="connsiteY11" fmla="*/ 37730 h 93909"/>
                <a:gd name="connsiteX12" fmla="*/ 68617 w 81466"/>
                <a:gd name="connsiteY12" fmla="*/ 39007 h 93909"/>
                <a:gd name="connsiteX13" fmla="*/ 61588 w 81466"/>
                <a:gd name="connsiteY13" fmla="*/ 58158 h 93909"/>
                <a:gd name="connsiteX14" fmla="*/ 51364 w 81466"/>
                <a:gd name="connsiteY14" fmla="*/ 81141 h 93909"/>
                <a:gd name="connsiteX15" fmla="*/ 29000 w 81466"/>
                <a:gd name="connsiteY15" fmla="*/ 81141 h 93909"/>
                <a:gd name="connsiteX16" fmla="*/ 18776 w 81466"/>
                <a:gd name="connsiteY16" fmla="*/ 58158 h 93909"/>
                <a:gd name="connsiteX17" fmla="*/ 11747 w 81466"/>
                <a:gd name="connsiteY17" fmla="*/ 39007 h 93909"/>
                <a:gd name="connsiteX18" fmla="*/ 38585 w 81466"/>
                <a:gd name="connsiteY18" fmla="*/ 12194 h 93909"/>
                <a:gd name="connsiteX19" fmla="*/ 40501 w 81466"/>
                <a:gd name="connsiteY19" fmla="*/ 11555 h 93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466" h="93909">
                  <a:moveTo>
                    <a:pt x="9191" y="65819"/>
                  </a:moveTo>
                  <a:cubicBezTo>
                    <a:pt x="14303" y="71565"/>
                    <a:pt x="17498" y="79864"/>
                    <a:pt x="16859" y="87525"/>
                  </a:cubicBezTo>
                  <a:cubicBezTo>
                    <a:pt x="16859" y="91355"/>
                    <a:pt x="19415" y="93909"/>
                    <a:pt x="23249" y="93909"/>
                  </a:cubicBezTo>
                  <a:lnTo>
                    <a:pt x="57754" y="93909"/>
                  </a:lnTo>
                  <a:cubicBezTo>
                    <a:pt x="61588" y="93909"/>
                    <a:pt x="64144" y="91355"/>
                    <a:pt x="64144" y="87525"/>
                  </a:cubicBezTo>
                  <a:cubicBezTo>
                    <a:pt x="63505" y="79226"/>
                    <a:pt x="66700" y="71565"/>
                    <a:pt x="71812" y="65819"/>
                  </a:cubicBezTo>
                  <a:cubicBezTo>
                    <a:pt x="78202" y="58158"/>
                    <a:pt x="82036" y="48583"/>
                    <a:pt x="81397" y="39007"/>
                  </a:cubicBezTo>
                  <a:cubicBezTo>
                    <a:pt x="80758" y="16663"/>
                    <a:pt x="61588" y="-1212"/>
                    <a:pt x="39224" y="64"/>
                  </a:cubicBezTo>
                  <a:cubicBezTo>
                    <a:pt x="18137" y="703"/>
                    <a:pt x="884" y="17939"/>
                    <a:pt x="245" y="39007"/>
                  </a:cubicBezTo>
                  <a:cubicBezTo>
                    <a:pt x="-1033" y="48583"/>
                    <a:pt x="2801" y="58158"/>
                    <a:pt x="9191" y="65819"/>
                  </a:cubicBezTo>
                  <a:close/>
                  <a:moveTo>
                    <a:pt x="40501" y="11555"/>
                  </a:moveTo>
                  <a:cubicBezTo>
                    <a:pt x="55198" y="10917"/>
                    <a:pt x="67978" y="22408"/>
                    <a:pt x="68617" y="37730"/>
                  </a:cubicBezTo>
                  <a:cubicBezTo>
                    <a:pt x="68617" y="38368"/>
                    <a:pt x="68617" y="38368"/>
                    <a:pt x="68617" y="39007"/>
                  </a:cubicBezTo>
                  <a:cubicBezTo>
                    <a:pt x="69256" y="46029"/>
                    <a:pt x="66700" y="53051"/>
                    <a:pt x="61588" y="58158"/>
                  </a:cubicBezTo>
                  <a:cubicBezTo>
                    <a:pt x="55837" y="64542"/>
                    <a:pt x="52642" y="72842"/>
                    <a:pt x="51364" y="81141"/>
                  </a:cubicBezTo>
                  <a:lnTo>
                    <a:pt x="29000" y="81141"/>
                  </a:lnTo>
                  <a:cubicBezTo>
                    <a:pt x="28361" y="72842"/>
                    <a:pt x="24527" y="64542"/>
                    <a:pt x="18776" y="58158"/>
                  </a:cubicBezTo>
                  <a:cubicBezTo>
                    <a:pt x="13664" y="53051"/>
                    <a:pt x="11747" y="46029"/>
                    <a:pt x="11747" y="39007"/>
                  </a:cubicBezTo>
                  <a:cubicBezTo>
                    <a:pt x="11747" y="24323"/>
                    <a:pt x="23888" y="12194"/>
                    <a:pt x="38585" y="12194"/>
                  </a:cubicBezTo>
                  <a:cubicBezTo>
                    <a:pt x="39862" y="11555"/>
                    <a:pt x="39862" y="11555"/>
                    <a:pt x="40501" y="1155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xmlns="" id="{1638C15A-5344-3649-A11D-87BEDDC64658}"/>
                </a:ext>
              </a:extLst>
            </p:cNvPr>
            <p:cNvSpPr/>
            <p:nvPr/>
          </p:nvSpPr>
          <p:spPr>
            <a:xfrm>
              <a:off x="1672885" y="3542634"/>
              <a:ext cx="45368" cy="12767"/>
            </a:xfrm>
            <a:custGeom>
              <a:avLst/>
              <a:gdLst>
                <a:gd name="connsiteX0" fmla="*/ 38979 w 45368"/>
                <a:gd name="connsiteY0" fmla="*/ 0 h 12767"/>
                <a:gd name="connsiteX1" fmla="*/ 6390 w 45368"/>
                <a:gd name="connsiteY1" fmla="*/ 0 h 12767"/>
                <a:gd name="connsiteX2" fmla="*/ 0 w 45368"/>
                <a:gd name="connsiteY2" fmla="*/ 6384 h 12767"/>
                <a:gd name="connsiteX3" fmla="*/ 6390 w 45368"/>
                <a:gd name="connsiteY3" fmla="*/ 12768 h 12767"/>
                <a:gd name="connsiteX4" fmla="*/ 38979 w 45368"/>
                <a:gd name="connsiteY4" fmla="*/ 12768 h 12767"/>
                <a:gd name="connsiteX5" fmla="*/ 45369 w 45368"/>
                <a:gd name="connsiteY5" fmla="*/ 6384 h 12767"/>
                <a:gd name="connsiteX6" fmla="*/ 38979 w 45368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368" h="12767">
                  <a:moveTo>
                    <a:pt x="38979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lnTo>
                    <a:pt x="38979" y="12768"/>
                  </a:lnTo>
                  <a:cubicBezTo>
                    <a:pt x="42813" y="12768"/>
                    <a:pt x="45369" y="10215"/>
                    <a:pt x="45369" y="6384"/>
                  </a:cubicBezTo>
                  <a:cubicBezTo>
                    <a:pt x="45369" y="2554"/>
                    <a:pt x="42813" y="0"/>
                    <a:pt x="38979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xmlns="" id="{C82FD278-F24E-854C-A568-EFE7EFFE0B75}"/>
                </a:ext>
              </a:extLst>
            </p:cNvPr>
            <p:cNvSpPr/>
            <p:nvPr/>
          </p:nvSpPr>
          <p:spPr>
            <a:xfrm>
              <a:off x="1689499" y="3399633"/>
              <a:ext cx="12779" cy="26812"/>
            </a:xfrm>
            <a:custGeom>
              <a:avLst/>
              <a:gdLst>
                <a:gd name="connsiteX0" fmla="*/ 6390 w 12779"/>
                <a:gd name="connsiteY0" fmla="*/ 26812 h 26812"/>
                <a:gd name="connsiteX1" fmla="*/ 12780 w 12779"/>
                <a:gd name="connsiteY1" fmla="*/ 20428 h 26812"/>
                <a:gd name="connsiteX2" fmla="*/ 12780 w 12779"/>
                <a:gd name="connsiteY2" fmla="*/ 6384 h 26812"/>
                <a:gd name="connsiteX3" fmla="*/ 6390 w 12779"/>
                <a:gd name="connsiteY3" fmla="*/ 0 h 26812"/>
                <a:gd name="connsiteX4" fmla="*/ 0 w 12779"/>
                <a:gd name="connsiteY4" fmla="*/ 6384 h 26812"/>
                <a:gd name="connsiteX5" fmla="*/ 0 w 12779"/>
                <a:gd name="connsiteY5" fmla="*/ 20428 h 26812"/>
                <a:gd name="connsiteX6" fmla="*/ 6390 w 12779"/>
                <a:gd name="connsiteY6" fmla="*/ 26812 h 2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26812">
                  <a:moveTo>
                    <a:pt x="6390" y="26812"/>
                  </a:moveTo>
                  <a:cubicBezTo>
                    <a:pt x="10224" y="26812"/>
                    <a:pt x="12780" y="24259"/>
                    <a:pt x="12780" y="20428"/>
                  </a:cubicBezTo>
                  <a:lnTo>
                    <a:pt x="12780" y="6384"/>
                  </a:lnTo>
                  <a:cubicBezTo>
                    <a:pt x="12780" y="2553"/>
                    <a:pt x="10224" y="0"/>
                    <a:pt x="6390" y="0"/>
                  </a:cubicBezTo>
                  <a:cubicBezTo>
                    <a:pt x="2556" y="0"/>
                    <a:pt x="0" y="2553"/>
                    <a:pt x="0" y="6384"/>
                  </a:cubicBezTo>
                  <a:lnTo>
                    <a:pt x="0" y="20428"/>
                  </a:lnTo>
                  <a:cubicBezTo>
                    <a:pt x="0" y="24259"/>
                    <a:pt x="2556" y="26812"/>
                    <a:pt x="6390" y="2681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xmlns="" id="{45390ADF-395A-9C4D-A691-ED882D6E5F3C}"/>
                </a:ext>
              </a:extLst>
            </p:cNvPr>
            <p:cNvSpPr/>
            <p:nvPr/>
          </p:nvSpPr>
          <p:spPr>
            <a:xfrm>
              <a:off x="1628994" y="3431752"/>
              <a:ext cx="25999" cy="21505"/>
            </a:xfrm>
            <a:custGeom>
              <a:avLst/>
              <a:gdLst>
                <a:gd name="connsiteX0" fmla="*/ 16414 w 25999"/>
                <a:gd name="connsiteY0" fmla="*/ 20229 h 21505"/>
                <a:gd name="connsiteX1" fmla="*/ 19609 w 25999"/>
                <a:gd name="connsiteY1" fmla="*/ 21506 h 21505"/>
                <a:gd name="connsiteX2" fmla="*/ 25999 w 25999"/>
                <a:gd name="connsiteY2" fmla="*/ 15122 h 21505"/>
                <a:gd name="connsiteX3" fmla="*/ 22804 w 25999"/>
                <a:gd name="connsiteY3" fmla="*/ 9377 h 21505"/>
                <a:gd name="connsiteX4" fmla="*/ 10024 w 25999"/>
                <a:gd name="connsiteY4" fmla="*/ 1077 h 21505"/>
                <a:gd name="connsiteX5" fmla="*/ 1078 w 25999"/>
                <a:gd name="connsiteY5" fmla="*/ 2993 h 21505"/>
                <a:gd name="connsiteX6" fmla="*/ 2995 w 25999"/>
                <a:gd name="connsiteY6" fmla="*/ 11930 h 21505"/>
                <a:gd name="connsiteX7" fmla="*/ 2995 w 25999"/>
                <a:gd name="connsiteY7" fmla="*/ 11930 h 21505"/>
                <a:gd name="connsiteX8" fmla="*/ 16414 w 25999"/>
                <a:gd name="connsiteY8" fmla="*/ 20229 h 2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99" h="21505">
                  <a:moveTo>
                    <a:pt x="16414" y="20229"/>
                  </a:moveTo>
                  <a:cubicBezTo>
                    <a:pt x="17692" y="20868"/>
                    <a:pt x="18970" y="21506"/>
                    <a:pt x="19609" y="21506"/>
                  </a:cubicBezTo>
                  <a:cubicBezTo>
                    <a:pt x="23443" y="21506"/>
                    <a:pt x="25999" y="18953"/>
                    <a:pt x="25999" y="15122"/>
                  </a:cubicBezTo>
                  <a:cubicBezTo>
                    <a:pt x="25999" y="13207"/>
                    <a:pt x="24721" y="10653"/>
                    <a:pt x="22804" y="9377"/>
                  </a:cubicBezTo>
                  <a:lnTo>
                    <a:pt x="10024" y="1077"/>
                  </a:lnTo>
                  <a:cubicBezTo>
                    <a:pt x="6829" y="-838"/>
                    <a:pt x="2995" y="-199"/>
                    <a:pt x="1078" y="2993"/>
                  </a:cubicBezTo>
                  <a:cubicBezTo>
                    <a:pt x="-839" y="6185"/>
                    <a:pt x="-200" y="10015"/>
                    <a:pt x="2995" y="11930"/>
                  </a:cubicBezTo>
                  <a:lnTo>
                    <a:pt x="2995" y="11930"/>
                  </a:lnTo>
                  <a:lnTo>
                    <a:pt x="16414" y="202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xmlns="" id="{5E4E7A93-838B-AE48-9D1E-77DDFDBB64E8}"/>
                </a:ext>
              </a:extLst>
            </p:cNvPr>
            <p:cNvSpPr/>
            <p:nvPr/>
          </p:nvSpPr>
          <p:spPr>
            <a:xfrm>
              <a:off x="1617932" y="3490924"/>
              <a:ext cx="28115" cy="12767"/>
            </a:xfrm>
            <a:custGeom>
              <a:avLst/>
              <a:gdLst>
                <a:gd name="connsiteX0" fmla="*/ 21726 w 28115"/>
                <a:gd name="connsiteY0" fmla="*/ 12768 h 12767"/>
                <a:gd name="connsiteX1" fmla="*/ 28116 w 28115"/>
                <a:gd name="connsiteY1" fmla="*/ 6384 h 12767"/>
                <a:gd name="connsiteX2" fmla="*/ 21726 w 28115"/>
                <a:gd name="connsiteY2" fmla="*/ 0 h 12767"/>
                <a:gd name="connsiteX3" fmla="*/ 6390 w 28115"/>
                <a:gd name="connsiteY3" fmla="*/ 0 h 12767"/>
                <a:gd name="connsiteX4" fmla="*/ 0 w 28115"/>
                <a:gd name="connsiteY4" fmla="*/ 6384 h 12767"/>
                <a:gd name="connsiteX5" fmla="*/ 6390 w 28115"/>
                <a:gd name="connsiteY5" fmla="*/ 12768 h 12767"/>
                <a:gd name="connsiteX6" fmla="*/ 21726 w 28115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15" h="12767">
                  <a:moveTo>
                    <a:pt x="21726" y="12768"/>
                  </a:moveTo>
                  <a:cubicBezTo>
                    <a:pt x="25560" y="12768"/>
                    <a:pt x="28116" y="10214"/>
                    <a:pt x="28116" y="6384"/>
                  </a:cubicBezTo>
                  <a:cubicBezTo>
                    <a:pt x="28116" y="2553"/>
                    <a:pt x="25560" y="0"/>
                    <a:pt x="21726" y="0"/>
                  </a:cubicBez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21726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xmlns="" id="{4188A1AE-C043-0544-AD10-312BEA288EC3}"/>
                </a:ext>
              </a:extLst>
            </p:cNvPr>
            <p:cNvSpPr/>
            <p:nvPr/>
          </p:nvSpPr>
          <p:spPr>
            <a:xfrm>
              <a:off x="1735706" y="3431752"/>
              <a:ext cx="25799" cy="21505"/>
            </a:xfrm>
            <a:custGeom>
              <a:avLst/>
              <a:gdLst>
                <a:gd name="connsiteX0" fmla="*/ 6829 w 25799"/>
                <a:gd name="connsiteY0" fmla="*/ 21506 h 21505"/>
                <a:gd name="connsiteX1" fmla="*/ 10024 w 25799"/>
                <a:gd name="connsiteY1" fmla="*/ 20229 h 21505"/>
                <a:gd name="connsiteX2" fmla="*/ 22804 w 25799"/>
                <a:gd name="connsiteY2" fmla="*/ 11930 h 21505"/>
                <a:gd name="connsiteX3" fmla="*/ 24721 w 25799"/>
                <a:gd name="connsiteY3" fmla="*/ 2993 h 21505"/>
                <a:gd name="connsiteX4" fmla="*/ 15775 w 25799"/>
                <a:gd name="connsiteY4" fmla="*/ 1077 h 21505"/>
                <a:gd name="connsiteX5" fmla="*/ 2995 w 25799"/>
                <a:gd name="connsiteY5" fmla="*/ 9377 h 21505"/>
                <a:gd name="connsiteX6" fmla="*/ 1078 w 25799"/>
                <a:gd name="connsiteY6" fmla="*/ 18314 h 21505"/>
                <a:gd name="connsiteX7" fmla="*/ 6829 w 25799"/>
                <a:gd name="connsiteY7" fmla="*/ 21506 h 21505"/>
                <a:gd name="connsiteX8" fmla="*/ 6829 w 25799"/>
                <a:gd name="connsiteY8" fmla="*/ 21506 h 2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99" h="21505">
                  <a:moveTo>
                    <a:pt x="6829" y="21506"/>
                  </a:moveTo>
                  <a:cubicBezTo>
                    <a:pt x="8107" y="21506"/>
                    <a:pt x="9385" y="20868"/>
                    <a:pt x="10024" y="20229"/>
                  </a:cubicBezTo>
                  <a:lnTo>
                    <a:pt x="22804" y="11930"/>
                  </a:lnTo>
                  <a:cubicBezTo>
                    <a:pt x="25999" y="10015"/>
                    <a:pt x="26638" y="6185"/>
                    <a:pt x="24721" y="2993"/>
                  </a:cubicBezTo>
                  <a:cubicBezTo>
                    <a:pt x="22804" y="-199"/>
                    <a:pt x="18970" y="-838"/>
                    <a:pt x="15775" y="1077"/>
                  </a:cubicBezTo>
                  <a:lnTo>
                    <a:pt x="2995" y="9377"/>
                  </a:lnTo>
                  <a:cubicBezTo>
                    <a:pt x="-200" y="11292"/>
                    <a:pt x="-839" y="15122"/>
                    <a:pt x="1078" y="18314"/>
                  </a:cubicBezTo>
                  <a:cubicBezTo>
                    <a:pt x="2356" y="20229"/>
                    <a:pt x="4912" y="21506"/>
                    <a:pt x="6829" y="21506"/>
                  </a:cubicBezTo>
                  <a:lnTo>
                    <a:pt x="6829" y="215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xmlns="" id="{F08F1A80-C764-4546-B78F-3A82A15F4051}"/>
                </a:ext>
              </a:extLst>
            </p:cNvPr>
            <p:cNvSpPr/>
            <p:nvPr/>
          </p:nvSpPr>
          <p:spPr>
            <a:xfrm>
              <a:off x="1745091" y="3490924"/>
              <a:ext cx="28115" cy="12767"/>
            </a:xfrm>
            <a:custGeom>
              <a:avLst/>
              <a:gdLst>
                <a:gd name="connsiteX0" fmla="*/ 21726 w 28115"/>
                <a:gd name="connsiteY0" fmla="*/ 0 h 12767"/>
                <a:gd name="connsiteX1" fmla="*/ 6390 w 28115"/>
                <a:gd name="connsiteY1" fmla="*/ 0 h 12767"/>
                <a:gd name="connsiteX2" fmla="*/ 0 w 28115"/>
                <a:gd name="connsiteY2" fmla="*/ 6384 h 12767"/>
                <a:gd name="connsiteX3" fmla="*/ 6390 w 28115"/>
                <a:gd name="connsiteY3" fmla="*/ 12768 h 12767"/>
                <a:gd name="connsiteX4" fmla="*/ 21726 w 28115"/>
                <a:gd name="connsiteY4" fmla="*/ 12768 h 12767"/>
                <a:gd name="connsiteX5" fmla="*/ 28116 w 28115"/>
                <a:gd name="connsiteY5" fmla="*/ 6384 h 12767"/>
                <a:gd name="connsiteX6" fmla="*/ 21726 w 28115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15" h="12767">
                  <a:moveTo>
                    <a:pt x="21726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21726" y="12768"/>
                  </a:lnTo>
                  <a:cubicBezTo>
                    <a:pt x="25560" y="12768"/>
                    <a:pt x="28116" y="10214"/>
                    <a:pt x="28116" y="6384"/>
                  </a:cubicBezTo>
                  <a:cubicBezTo>
                    <a:pt x="28116" y="2553"/>
                    <a:pt x="25560" y="0"/>
                    <a:pt x="21726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Graphic 4">
              <a:extLst>
                <a:ext uri="{FF2B5EF4-FFF2-40B4-BE49-F238E27FC236}">
                  <a16:creationId xmlns:a16="http://schemas.microsoft.com/office/drawing/2014/main" xmlns="" id="{7F6B8D3C-843C-1842-B171-7D16021F959A}"/>
                </a:ext>
              </a:extLst>
            </p:cNvPr>
            <p:cNvSpPr/>
            <p:nvPr/>
          </p:nvSpPr>
          <p:spPr>
            <a:xfrm>
              <a:off x="1620488" y="3563701"/>
              <a:ext cx="150802" cy="77884"/>
            </a:xfrm>
            <a:custGeom>
              <a:avLst/>
              <a:gdLst>
                <a:gd name="connsiteX0" fmla="*/ 94571 w 150802"/>
                <a:gd name="connsiteY0" fmla="*/ 0 h 77884"/>
                <a:gd name="connsiteX1" fmla="*/ 56231 w 150802"/>
                <a:gd name="connsiteY1" fmla="*/ 0 h 77884"/>
                <a:gd name="connsiteX2" fmla="*/ 0 w 150802"/>
                <a:gd name="connsiteY2" fmla="*/ 60010 h 77884"/>
                <a:gd name="connsiteX3" fmla="*/ 0 w 150802"/>
                <a:gd name="connsiteY3" fmla="*/ 71501 h 77884"/>
                <a:gd name="connsiteX4" fmla="*/ 6390 w 150802"/>
                <a:gd name="connsiteY4" fmla="*/ 77885 h 77884"/>
                <a:gd name="connsiteX5" fmla="*/ 12780 w 150802"/>
                <a:gd name="connsiteY5" fmla="*/ 71501 h 77884"/>
                <a:gd name="connsiteX6" fmla="*/ 12780 w 150802"/>
                <a:gd name="connsiteY6" fmla="*/ 60010 h 77884"/>
                <a:gd name="connsiteX7" fmla="*/ 56231 w 150802"/>
                <a:gd name="connsiteY7" fmla="*/ 12768 h 77884"/>
                <a:gd name="connsiteX8" fmla="*/ 94571 w 150802"/>
                <a:gd name="connsiteY8" fmla="*/ 12768 h 77884"/>
                <a:gd name="connsiteX9" fmla="*/ 138023 w 150802"/>
                <a:gd name="connsiteY9" fmla="*/ 60010 h 77884"/>
                <a:gd name="connsiteX10" fmla="*/ 138023 w 150802"/>
                <a:gd name="connsiteY10" fmla="*/ 71501 h 77884"/>
                <a:gd name="connsiteX11" fmla="*/ 144413 w 150802"/>
                <a:gd name="connsiteY11" fmla="*/ 77885 h 77884"/>
                <a:gd name="connsiteX12" fmla="*/ 150803 w 150802"/>
                <a:gd name="connsiteY12" fmla="*/ 71501 h 77884"/>
                <a:gd name="connsiteX13" fmla="*/ 150803 w 150802"/>
                <a:gd name="connsiteY13" fmla="*/ 60010 h 77884"/>
                <a:gd name="connsiteX14" fmla="*/ 94571 w 150802"/>
                <a:gd name="connsiteY14" fmla="*/ 0 h 7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802" h="77884">
                  <a:moveTo>
                    <a:pt x="94571" y="0"/>
                  </a:moveTo>
                  <a:lnTo>
                    <a:pt x="56231" y="0"/>
                  </a:lnTo>
                  <a:cubicBezTo>
                    <a:pt x="24921" y="0"/>
                    <a:pt x="0" y="26813"/>
                    <a:pt x="0" y="60010"/>
                  </a:cubicBezTo>
                  <a:lnTo>
                    <a:pt x="0" y="71501"/>
                  </a:lnTo>
                  <a:cubicBezTo>
                    <a:pt x="0" y="75331"/>
                    <a:pt x="2556" y="77885"/>
                    <a:pt x="6390" y="77885"/>
                  </a:cubicBezTo>
                  <a:cubicBezTo>
                    <a:pt x="10224" y="77885"/>
                    <a:pt x="12780" y="75331"/>
                    <a:pt x="12780" y="71501"/>
                  </a:cubicBezTo>
                  <a:lnTo>
                    <a:pt x="12780" y="60010"/>
                  </a:lnTo>
                  <a:cubicBezTo>
                    <a:pt x="12780" y="33835"/>
                    <a:pt x="31950" y="12768"/>
                    <a:pt x="56231" y="12768"/>
                  </a:cubicBezTo>
                  <a:lnTo>
                    <a:pt x="94571" y="12768"/>
                  </a:lnTo>
                  <a:cubicBezTo>
                    <a:pt x="118853" y="12768"/>
                    <a:pt x="138023" y="33835"/>
                    <a:pt x="138023" y="60010"/>
                  </a:cubicBezTo>
                  <a:lnTo>
                    <a:pt x="138023" y="71501"/>
                  </a:lnTo>
                  <a:cubicBezTo>
                    <a:pt x="138023" y="75331"/>
                    <a:pt x="140579" y="77885"/>
                    <a:pt x="144413" y="77885"/>
                  </a:cubicBezTo>
                  <a:cubicBezTo>
                    <a:pt x="148246" y="77885"/>
                    <a:pt x="150803" y="75331"/>
                    <a:pt x="150803" y="71501"/>
                  </a:cubicBezTo>
                  <a:lnTo>
                    <a:pt x="150803" y="60010"/>
                  </a:lnTo>
                  <a:cubicBezTo>
                    <a:pt x="150803" y="26813"/>
                    <a:pt x="125243" y="0"/>
                    <a:pt x="94571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Graphic 4">
            <a:extLst>
              <a:ext uri="{FF2B5EF4-FFF2-40B4-BE49-F238E27FC236}">
                <a16:creationId xmlns:a16="http://schemas.microsoft.com/office/drawing/2014/main" xmlns="" id="{26E0C639-38AE-DE4F-847C-0A4451A69740}"/>
              </a:ext>
            </a:extLst>
          </p:cNvPr>
          <p:cNvGrpSpPr/>
          <p:nvPr/>
        </p:nvGrpSpPr>
        <p:grpSpPr>
          <a:xfrm>
            <a:off x="6252283" y="5283791"/>
            <a:ext cx="540000" cy="540000"/>
            <a:chOff x="467104" y="3824168"/>
            <a:chExt cx="362309" cy="361971"/>
          </a:xfrm>
          <a:solidFill>
            <a:schemeClr val="bg1"/>
          </a:solidFill>
        </p:grpSpPr>
        <p:sp>
          <p:nvSpPr>
            <p:cNvPr id="30" name="Graphic 4">
              <a:extLst>
                <a:ext uri="{FF2B5EF4-FFF2-40B4-BE49-F238E27FC236}">
                  <a16:creationId xmlns:a16="http://schemas.microsoft.com/office/drawing/2014/main" xmlns="" id="{98E577F5-ACA9-F745-9B32-42936043CA14}"/>
                </a:ext>
              </a:extLst>
            </p:cNvPr>
            <p:cNvSpPr/>
            <p:nvPr/>
          </p:nvSpPr>
          <p:spPr>
            <a:xfrm>
              <a:off x="467104" y="3824168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1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3419 w 362309"/>
                <a:gd name="connsiteY7" fmla="*/ 181305 h 361971"/>
                <a:gd name="connsiteX8" fmla="*/ 181474 w 362309"/>
                <a:gd name="connsiteY8" fmla="*/ 12768 h 361971"/>
                <a:gd name="connsiteX9" fmla="*/ 349530 w 362309"/>
                <a:gd name="connsiteY9" fmla="*/ 181305 h 361971"/>
                <a:gd name="connsiteX10" fmla="*/ 349530 w 362309"/>
                <a:gd name="connsiteY10" fmla="*/ 181305 h 361971"/>
                <a:gd name="connsiteX11" fmla="*/ 181474 w 362309"/>
                <a:gd name="connsiteY11" fmla="*/ 349204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895"/>
                    <a:pt x="81152" y="361971"/>
                    <a:pt x="181474" y="361971"/>
                  </a:cubicBezTo>
                  <a:cubicBezTo>
                    <a:pt x="281796" y="361971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6"/>
                    <a:pt x="281157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xmlns="" id="{338EA86D-B237-3141-89FE-E10390801EA1}"/>
                </a:ext>
              </a:extLst>
            </p:cNvPr>
            <p:cNvSpPr/>
            <p:nvPr/>
          </p:nvSpPr>
          <p:spPr>
            <a:xfrm>
              <a:off x="542505" y="3902033"/>
              <a:ext cx="74780" cy="99608"/>
            </a:xfrm>
            <a:custGeom>
              <a:avLst/>
              <a:gdLst>
                <a:gd name="connsiteX0" fmla="*/ 37701 w 74780"/>
                <a:gd name="connsiteY0" fmla="*/ 99609 h 99608"/>
                <a:gd name="connsiteX1" fmla="*/ 42174 w 74780"/>
                <a:gd name="connsiteY1" fmla="*/ 97694 h 99608"/>
                <a:gd name="connsiteX2" fmla="*/ 74762 w 74780"/>
                <a:gd name="connsiteY2" fmla="*/ 38961 h 99608"/>
                <a:gd name="connsiteX3" fmla="*/ 38979 w 74780"/>
                <a:gd name="connsiteY3" fmla="*/ 18 h 99608"/>
                <a:gd name="connsiteX4" fmla="*/ 0 w 74780"/>
                <a:gd name="connsiteY4" fmla="*/ 35769 h 99608"/>
                <a:gd name="connsiteX5" fmla="*/ 0 w 74780"/>
                <a:gd name="connsiteY5" fmla="*/ 38961 h 99608"/>
                <a:gd name="connsiteX6" fmla="*/ 32589 w 74780"/>
                <a:gd name="connsiteY6" fmla="*/ 97694 h 99608"/>
                <a:gd name="connsiteX7" fmla="*/ 37701 w 74780"/>
                <a:gd name="connsiteY7" fmla="*/ 99609 h 99608"/>
                <a:gd name="connsiteX8" fmla="*/ 37701 w 74780"/>
                <a:gd name="connsiteY8" fmla="*/ 14063 h 99608"/>
                <a:gd name="connsiteX9" fmla="*/ 61982 w 74780"/>
                <a:gd name="connsiteY9" fmla="*/ 38322 h 99608"/>
                <a:gd name="connsiteX10" fmla="*/ 37701 w 74780"/>
                <a:gd name="connsiteY10" fmla="*/ 83010 h 99608"/>
                <a:gd name="connsiteX11" fmla="*/ 13419 w 74780"/>
                <a:gd name="connsiteY11" fmla="*/ 38322 h 99608"/>
                <a:gd name="connsiteX12" fmla="*/ 37701 w 74780"/>
                <a:gd name="connsiteY12" fmla="*/ 14063 h 99608"/>
                <a:gd name="connsiteX13" fmla="*/ 37701 w 74780"/>
                <a:gd name="connsiteY13" fmla="*/ 14063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80" h="99608">
                  <a:moveTo>
                    <a:pt x="37701" y="99609"/>
                  </a:moveTo>
                  <a:cubicBezTo>
                    <a:pt x="39618" y="99609"/>
                    <a:pt x="40896" y="98970"/>
                    <a:pt x="42174" y="97694"/>
                  </a:cubicBezTo>
                  <a:cubicBezTo>
                    <a:pt x="74762" y="65135"/>
                    <a:pt x="74762" y="40238"/>
                    <a:pt x="74762" y="38961"/>
                  </a:cubicBezTo>
                  <a:cubicBezTo>
                    <a:pt x="75401" y="18532"/>
                    <a:pt x="59426" y="657"/>
                    <a:pt x="38979" y="18"/>
                  </a:cubicBezTo>
                  <a:cubicBezTo>
                    <a:pt x="18531" y="-620"/>
                    <a:pt x="639" y="15340"/>
                    <a:pt x="0" y="35769"/>
                  </a:cubicBezTo>
                  <a:cubicBezTo>
                    <a:pt x="0" y="37046"/>
                    <a:pt x="0" y="37684"/>
                    <a:pt x="0" y="38961"/>
                  </a:cubicBezTo>
                  <a:cubicBezTo>
                    <a:pt x="0" y="40238"/>
                    <a:pt x="0" y="65135"/>
                    <a:pt x="32589" y="97694"/>
                  </a:cubicBezTo>
                  <a:cubicBezTo>
                    <a:pt x="34506" y="98970"/>
                    <a:pt x="36423" y="99609"/>
                    <a:pt x="37701" y="99609"/>
                  </a:cubicBezTo>
                  <a:close/>
                  <a:moveTo>
                    <a:pt x="37701" y="14063"/>
                  </a:moveTo>
                  <a:cubicBezTo>
                    <a:pt x="51119" y="14063"/>
                    <a:pt x="61982" y="24916"/>
                    <a:pt x="61982" y="38322"/>
                  </a:cubicBezTo>
                  <a:cubicBezTo>
                    <a:pt x="61982" y="38322"/>
                    <a:pt x="61343" y="57474"/>
                    <a:pt x="37701" y="83010"/>
                  </a:cubicBezTo>
                  <a:cubicBezTo>
                    <a:pt x="13419" y="56836"/>
                    <a:pt x="13419" y="38322"/>
                    <a:pt x="13419" y="38322"/>
                  </a:cubicBezTo>
                  <a:cubicBezTo>
                    <a:pt x="13419" y="25554"/>
                    <a:pt x="24282" y="14063"/>
                    <a:pt x="37701" y="14063"/>
                  </a:cubicBezTo>
                  <a:lnTo>
                    <a:pt x="37701" y="140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xmlns="" id="{D04B2BE8-CDDD-AB4A-85E9-8329D2DF138D}"/>
                </a:ext>
              </a:extLst>
            </p:cNvPr>
            <p:cNvSpPr/>
            <p:nvPr/>
          </p:nvSpPr>
          <p:spPr>
            <a:xfrm>
              <a:off x="569982" y="3930780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5 h 20428"/>
                <a:gd name="connsiteX2" fmla="*/ 10224 w 20447"/>
                <a:gd name="connsiteY2" fmla="*/ 0 h 20428"/>
                <a:gd name="connsiteX3" fmla="*/ 0 w 20447"/>
                <a:gd name="connsiteY3" fmla="*/ 10215 h 20428"/>
                <a:gd name="connsiteX4" fmla="*/ 10224 w 20447"/>
                <a:gd name="connsiteY4" fmla="*/ 20429 h 20428"/>
                <a:gd name="connsiteX5" fmla="*/ 10224 w 20447"/>
                <a:gd name="connsiteY5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5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5"/>
                  </a:cubicBezTo>
                  <a:cubicBezTo>
                    <a:pt x="0" y="15960"/>
                    <a:pt x="5112" y="20429"/>
                    <a:pt x="10224" y="20429"/>
                  </a:cubicBezTo>
                  <a:cubicBezTo>
                    <a:pt x="10224" y="20429"/>
                    <a:pt x="10224" y="20429"/>
                    <a:pt x="10224" y="2042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xmlns="" id="{5D6498F2-FEAD-884D-BEB8-E4E11098CF3C}"/>
                </a:ext>
              </a:extLst>
            </p:cNvPr>
            <p:cNvSpPr/>
            <p:nvPr/>
          </p:nvSpPr>
          <p:spPr>
            <a:xfrm>
              <a:off x="571162" y="3923758"/>
              <a:ext cx="183215" cy="182947"/>
            </a:xfrm>
            <a:custGeom>
              <a:avLst/>
              <a:gdLst>
                <a:gd name="connsiteX0" fmla="*/ 91474 w 183215"/>
                <a:gd name="connsiteY0" fmla="*/ 0 h 182947"/>
                <a:gd name="connsiteX1" fmla="*/ 66553 w 183215"/>
                <a:gd name="connsiteY1" fmla="*/ 3192 h 182947"/>
                <a:gd name="connsiteX2" fmla="*/ 62719 w 183215"/>
                <a:gd name="connsiteY2" fmla="*/ 11491 h 182947"/>
                <a:gd name="connsiteX3" fmla="*/ 69109 w 183215"/>
                <a:gd name="connsiteY3" fmla="*/ 15322 h 182947"/>
                <a:gd name="connsiteX4" fmla="*/ 56329 w 183215"/>
                <a:gd name="connsiteY4" fmla="*/ 53626 h 182947"/>
                <a:gd name="connsiteX5" fmla="*/ 52495 w 183215"/>
                <a:gd name="connsiteY5" fmla="*/ 53626 h 182947"/>
                <a:gd name="connsiteX6" fmla="*/ 46105 w 183215"/>
                <a:gd name="connsiteY6" fmla="*/ 60010 h 182947"/>
                <a:gd name="connsiteX7" fmla="*/ 52495 w 183215"/>
                <a:gd name="connsiteY7" fmla="*/ 66394 h 182947"/>
                <a:gd name="connsiteX8" fmla="*/ 54412 w 183215"/>
                <a:gd name="connsiteY8" fmla="*/ 66394 h 182947"/>
                <a:gd name="connsiteX9" fmla="*/ 54412 w 183215"/>
                <a:gd name="connsiteY9" fmla="*/ 115550 h 182947"/>
                <a:gd name="connsiteX10" fmla="*/ 16712 w 183215"/>
                <a:gd name="connsiteY10" fmla="*/ 115550 h 182947"/>
                <a:gd name="connsiteX11" fmla="*/ 12878 w 183215"/>
                <a:gd name="connsiteY11" fmla="*/ 98313 h 182947"/>
                <a:gd name="connsiteX12" fmla="*/ 5849 w 183215"/>
                <a:gd name="connsiteY12" fmla="*/ 92568 h 182947"/>
                <a:gd name="connsiteX13" fmla="*/ 98 w 183215"/>
                <a:gd name="connsiteY13" fmla="*/ 99590 h 182947"/>
                <a:gd name="connsiteX14" fmla="*/ 99781 w 183215"/>
                <a:gd name="connsiteY14" fmla="*/ 182582 h 182947"/>
                <a:gd name="connsiteX15" fmla="*/ 182850 w 183215"/>
                <a:gd name="connsiteY15" fmla="*/ 82992 h 182947"/>
                <a:gd name="connsiteX16" fmla="*/ 91474 w 183215"/>
                <a:gd name="connsiteY16" fmla="*/ 0 h 182947"/>
                <a:gd name="connsiteX17" fmla="*/ 160485 w 183215"/>
                <a:gd name="connsiteY17" fmla="*/ 54264 h 182947"/>
                <a:gd name="connsiteX18" fmla="*/ 125980 w 183215"/>
                <a:gd name="connsiteY18" fmla="*/ 54264 h 182947"/>
                <a:gd name="connsiteX19" fmla="*/ 113200 w 183215"/>
                <a:gd name="connsiteY19" fmla="*/ 15960 h 182947"/>
                <a:gd name="connsiteX20" fmla="*/ 160485 w 183215"/>
                <a:gd name="connsiteY20" fmla="*/ 54264 h 182947"/>
                <a:gd name="connsiteX21" fmla="*/ 160485 w 183215"/>
                <a:gd name="connsiteY21" fmla="*/ 54264 h 182947"/>
                <a:gd name="connsiteX22" fmla="*/ 166236 w 183215"/>
                <a:gd name="connsiteY22" fmla="*/ 116189 h 182947"/>
                <a:gd name="connsiteX23" fmla="*/ 128536 w 183215"/>
                <a:gd name="connsiteY23" fmla="*/ 116189 h 182947"/>
                <a:gd name="connsiteX24" fmla="*/ 128536 w 183215"/>
                <a:gd name="connsiteY24" fmla="*/ 67032 h 182947"/>
                <a:gd name="connsiteX25" fmla="*/ 166236 w 183215"/>
                <a:gd name="connsiteY25" fmla="*/ 67032 h 182947"/>
                <a:gd name="connsiteX26" fmla="*/ 166236 w 183215"/>
                <a:gd name="connsiteY26" fmla="*/ 116189 h 182947"/>
                <a:gd name="connsiteX27" fmla="*/ 91474 w 183215"/>
                <a:gd name="connsiteY27" fmla="*/ 12768 h 182947"/>
                <a:gd name="connsiteX28" fmla="*/ 113839 w 183215"/>
                <a:gd name="connsiteY28" fmla="*/ 54264 h 182947"/>
                <a:gd name="connsiteX29" fmla="*/ 69109 w 183215"/>
                <a:gd name="connsiteY29" fmla="*/ 54264 h 182947"/>
                <a:gd name="connsiteX30" fmla="*/ 91474 w 183215"/>
                <a:gd name="connsiteY30" fmla="*/ 12768 h 182947"/>
                <a:gd name="connsiteX31" fmla="*/ 65914 w 183215"/>
                <a:gd name="connsiteY31" fmla="*/ 91291 h 182947"/>
                <a:gd name="connsiteX32" fmla="*/ 67192 w 183215"/>
                <a:gd name="connsiteY32" fmla="*/ 67032 h 182947"/>
                <a:gd name="connsiteX33" fmla="*/ 115756 w 183215"/>
                <a:gd name="connsiteY33" fmla="*/ 67032 h 182947"/>
                <a:gd name="connsiteX34" fmla="*/ 115756 w 183215"/>
                <a:gd name="connsiteY34" fmla="*/ 116189 h 182947"/>
                <a:gd name="connsiteX35" fmla="*/ 67192 w 183215"/>
                <a:gd name="connsiteY35" fmla="*/ 116189 h 182947"/>
                <a:gd name="connsiteX36" fmla="*/ 65914 w 183215"/>
                <a:gd name="connsiteY36" fmla="*/ 91291 h 182947"/>
                <a:gd name="connsiteX37" fmla="*/ 65914 w 183215"/>
                <a:gd name="connsiteY37" fmla="*/ 91291 h 182947"/>
                <a:gd name="connsiteX38" fmla="*/ 91474 w 183215"/>
                <a:gd name="connsiteY38" fmla="*/ 170452 h 182947"/>
                <a:gd name="connsiteX39" fmla="*/ 69109 w 183215"/>
                <a:gd name="connsiteY39" fmla="*/ 128957 h 182947"/>
                <a:gd name="connsiteX40" fmla="*/ 113839 w 183215"/>
                <a:gd name="connsiteY40" fmla="*/ 128957 h 182947"/>
                <a:gd name="connsiteX41" fmla="*/ 91474 w 183215"/>
                <a:gd name="connsiteY41" fmla="*/ 170452 h 182947"/>
                <a:gd name="connsiteX42" fmla="*/ 91474 w 183215"/>
                <a:gd name="connsiteY42" fmla="*/ 170452 h 182947"/>
                <a:gd name="connsiteX43" fmla="*/ 21824 w 183215"/>
                <a:gd name="connsiteY43" fmla="*/ 128957 h 182947"/>
                <a:gd name="connsiteX44" fmla="*/ 56329 w 183215"/>
                <a:gd name="connsiteY44" fmla="*/ 128957 h 182947"/>
                <a:gd name="connsiteX45" fmla="*/ 69109 w 183215"/>
                <a:gd name="connsiteY45" fmla="*/ 167260 h 182947"/>
                <a:gd name="connsiteX46" fmla="*/ 21824 w 183215"/>
                <a:gd name="connsiteY46" fmla="*/ 128957 h 182947"/>
                <a:gd name="connsiteX47" fmla="*/ 113839 w 183215"/>
                <a:gd name="connsiteY47" fmla="*/ 167260 h 182947"/>
                <a:gd name="connsiteX48" fmla="*/ 126619 w 183215"/>
                <a:gd name="connsiteY48" fmla="*/ 128957 h 182947"/>
                <a:gd name="connsiteX49" fmla="*/ 161124 w 183215"/>
                <a:gd name="connsiteY49" fmla="*/ 128957 h 182947"/>
                <a:gd name="connsiteX50" fmla="*/ 113839 w 183215"/>
                <a:gd name="connsiteY50" fmla="*/ 167260 h 182947"/>
                <a:gd name="connsiteX51" fmla="*/ 113839 w 183215"/>
                <a:gd name="connsiteY51" fmla="*/ 167260 h 18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3215" h="182947">
                  <a:moveTo>
                    <a:pt x="91474" y="0"/>
                  </a:moveTo>
                  <a:cubicBezTo>
                    <a:pt x="83167" y="0"/>
                    <a:pt x="74860" y="1277"/>
                    <a:pt x="66553" y="3192"/>
                  </a:cubicBezTo>
                  <a:cubicBezTo>
                    <a:pt x="63358" y="4469"/>
                    <a:pt x="61441" y="8299"/>
                    <a:pt x="62719" y="11491"/>
                  </a:cubicBezTo>
                  <a:cubicBezTo>
                    <a:pt x="63997" y="14045"/>
                    <a:pt x="66553" y="15960"/>
                    <a:pt x="69109" y="15322"/>
                  </a:cubicBezTo>
                  <a:cubicBezTo>
                    <a:pt x="62719" y="27451"/>
                    <a:pt x="58246" y="40219"/>
                    <a:pt x="56329" y="53626"/>
                  </a:cubicBezTo>
                  <a:lnTo>
                    <a:pt x="52495" y="53626"/>
                  </a:lnTo>
                  <a:cubicBezTo>
                    <a:pt x="48661" y="53626"/>
                    <a:pt x="46105" y="56179"/>
                    <a:pt x="46105" y="60010"/>
                  </a:cubicBezTo>
                  <a:cubicBezTo>
                    <a:pt x="46105" y="63840"/>
                    <a:pt x="48661" y="66394"/>
                    <a:pt x="52495" y="66394"/>
                  </a:cubicBezTo>
                  <a:lnTo>
                    <a:pt x="54412" y="66394"/>
                  </a:lnTo>
                  <a:cubicBezTo>
                    <a:pt x="52495" y="82992"/>
                    <a:pt x="52495" y="98952"/>
                    <a:pt x="54412" y="115550"/>
                  </a:cubicBezTo>
                  <a:lnTo>
                    <a:pt x="16712" y="115550"/>
                  </a:lnTo>
                  <a:cubicBezTo>
                    <a:pt x="14795" y="109805"/>
                    <a:pt x="13517" y="104059"/>
                    <a:pt x="12878" y="98313"/>
                  </a:cubicBezTo>
                  <a:cubicBezTo>
                    <a:pt x="12878" y="94483"/>
                    <a:pt x="9683" y="91930"/>
                    <a:pt x="5849" y="92568"/>
                  </a:cubicBezTo>
                  <a:cubicBezTo>
                    <a:pt x="2015" y="92568"/>
                    <a:pt x="-541" y="95760"/>
                    <a:pt x="98" y="99590"/>
                  </a:cubicBezTo>
                  <a:cubicBezTo>
                    <a:pt x="4571" y="150024"/>
                    <a:pt x="49300" y="187051"/>
                    <a:pt x="99781" y="182582"/>
                  </a:cubicBezTo>
                  <a:cubicBezTo>
                    <a:pt x="150261" y="178113"/>
                    <a:pt x="187323" y="133425"/>
                    <a:pt x="182850" y="82992"/>
                  </a:cubicBezTo>
                  <a:cubicBezTo>
                    <a:pt x="178377" y="35750"/>
                    <a:pt x="138759" y="0"/>
                    <a:pt x="91474" y="0"/>
                  </a:cubicBezTo>
                  <a:close/>
                  <a:moveTo>
                    <a:pt x="160485" y="54264"/>
                  </a:moveTo>
                  <a:lnTo>
                    <a:pt x="125980" y="54264"/>
                  </a:lnTo>
                  <a:cubicBezTo>
                    <a:pt x="124063" y="40858"/>
                    <a:pt x="119590" y="28090"/>
                    <a:pt x="113200" y="15960"/>
                  </a:cubicBezTo>
                  <a:cubicBezTo>
                    <a:pt x="133648" y="21706"/>
                    <a:pt x="150900" y="35750"/>
                    <a:pt x="160485" y="54264"/>
                  </a:cubicBezTo>
                  <a:lnTo>
                    <a:pt x="160485" y="54264"/>
                  </a:lnTo>
                  <a:close/>
                  <a:moveTo>
                    <a:pt x="166236" y="116189"/>
                  </a:moveTo>
                  <a:lnTo>
                    <a:pt x="128536" y="116189"/>
                  </a:lnTo>
                  <a:cubicBezTo>
                    <a:pt x="130453" y="99590"/>
                    <a:pt x="130453" y="83630"/>
                    <a:pt x="128536" y="67032"/>
                  </a:cubicBezTo>
                  <a:lnTo>
                    <a:pt x="166236" y="67032"/>
                  </a:lnTo>
                  <a:cubicBezTo>
                    <a:pt x="171348" y="82992"/>
                    <a:pt x="171348" y="100229"/>
                    <a:pt x="166236" y="116189"/>
                  </a:cubicBezTo>
                  <a:close/>
                  <a:moveTo>
                    <a:pt x="91474" y="12768"/>
                  </a:moveTo>
                  <a:cubicBezTo>
                    <a:pt x="99142" y="12768"/>
                    <a:pt x="108727" y="28090"/>
                    <a:pt x="113839" y="54264"/>
                  </a:cubicBezTo>
                  <a:lnTo>
                    <a:pt x="69109" y="54264"/>
                  </a:lnTo>
                  <a:cubicBezTo>
                    <a:pt x="74221" y="28090"/>
                    <a:pt x="83806" y="12768"/>
                    <a:pt x="91474" y="12768"/>
                  </a:cubicBezTo>
                  <a:close/>
                  <a:moveTo>
                    <a:pt x="65914" y="91291"/>
                  </a:moveTo>
                  <a:cubicBezTo>
                    <a:pt x="65914" y="82992"/>
                    <a:pt x="66553" y="74693"/>
                    <a:pt x="67192" y="67032"/>
                  </a:cubicBezTo>
                  <a:lnTo>
                    <a:pt x="115756" y="67032"/>
                  </a:lnTo>
                  <a:cubicBezTo>
                    <a:pt x="117673" y="83630"/>
                    <a:pt x="117673" y="99590"/>
                    <a:pt x="115756" y="116189"/>
                  </a:cubicBezTo>
                  <a:lnTo>
                    <a:pt x="67192" y="116189"/>
                  </a:lnTo>
                  <a:cubicBezTo>
                    <a:pt x="65914" y="107889"/>
                    <a:pt x="65914" y="99590"/>
                    <a:pt x="65914" y="91291"/>
                  </a:cubicBezTo>
                  <a:lnTo>
                    <a:pt x="65914" y="91291"/>
                  </a:lnTo>
                  <a:close/>
                  <a:moveTo>
                    <a:pt x="91474" y="170452"/>
                  </a:moveTo>
                  <a:cubicBezTo>
                    <a:pt x="83806" y="170452"/>
                    <a:pt x="74221" y="155131"/>
                    <a:pt x="69109" y="128957"/>
                  </a:cubicBezTo>
                  <a:lnTo>
                    <a:pt x="113839" y="128957"/>
                  </a:lnTo>
                  <a:cubicBezTo>
                    <a:pt x="108727" y="155131"/>
                    <a:pt x="98503" y="170452"/>
                    <a:pt x="91474" y="170452"/>
                  </a:cubicBezTo>
                  <a:lnTo>
                    <a:pt x="91474" y="170452"/>
                  </a:lnTo>
                  <a:close/>
                  <a:moveTo>
                    <a:pt x="21824" y="128957"/>
                  </a:moveTo>
                  <a:lnTo>
                    <a:pt x="56329" y="128957"/>
                  </a:lnTo>
                  <a:cubicBezTo>
                    <a:pt x="58246" y="142363"/>
                    <a:pt x="62719" y="155131"/>
                    <a:pt x="69109" y="167260"/>
                  </a:cubicBezTo>
                  <a:cubicBezTo>
                    <a:pt x="48661" y="161515"/>
                    <a:pt x="31409" y="147470"/>
                    <a:pt x="21824" y="128957"/>
                  </a:cubicBezTo>
                  <a:close/>
                  <a:moveTo>
                    <a:pt x="113839" y="167260"/>
                  </a:moveTo>
                  <a:cubicBezTo>
                    <a:pt x="120229" y="155131"/>
                    <a:pt x="124702" y="142363"/>
                    <a:pt x="126619" y="128957"/>
                  </a:cubicBezTo>
                  <a:lnTo>
                    <a:pt x="161124" y="128957"/>
                  </a:lnTo>
                  <a:cubicBezTo>
                    <a:pt x="150261" y="147470"/>
                    <a:pt x="133648" y="160876"/>
                    <a:pt x="113839" y="167260"/>
                  </a:cubicBezTo>
                  <a:lnTo>
                    <a:pt x="113839" y="16726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52283" y="5080000"/>
            <a:ext cx="5487280" cy="0"/>
          </a:xfrm>
          <a:prstGeom prst="line">
            <a:avLst/>
          </a:prstGeom>
          <a:ln>
            <a:solidFill>
              <a:schemeClr val="bg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7566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емного о ДРТ</a:t>
            </a:r>
            <a:endParaRPr lang="ru-RU" dirty="0"/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010400" y="947152"/>
            <a:ext cx="4729163" cy="550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spcBef>
                <a:spcPts val="1800"/>
              </a:spcBef>
              <a:buClrTx/>
              <a:buSzTx/>
              <a:buFontTx/>
              <a:buNone/>
              <a:tabLst/>
            </a:pPr>
            <a:r>
              <a:rPr kumimoji="0" lang="ru-RU" altLang="en-US" sz="2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cs typeface="Segoe UI" panose="020B0502040204020203" pitchFamily="34" charset="0"/>
              </a:rPr>
              <a:t>ДРТ</a:t>
            </a:r>
            <a:r>
              <a:rPr kumimoji="0" lang="ru-RU" altLang="en-US" sz="2200" b="1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Segoe UI" panose="020B0502040204020203" pitchFamily="34" charset="0"/>
              </a:rPr>
              <a:t>является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одной из ведущих компаний,</a:t>
            </a:r>
            <a:r>
              <a:rPr lang="ru-RU" altLang="en-US" sz="2200" b="1" dirty="0">
                <a:latin typeface="+mj-lt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Segoe UI" panose="020B0502040204020203" pitchFamily="34" charset="0"/>
              </a:rPr>
              <a:t>предоставляющих услуги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Segoe UI" panose="020B0502040204020203" pitchFamily="34" charset="0"/>
              </a:rPr>
              <a:t> </a:t>
            </a:r>
            <a:r>
              <a:rPr kumimoji="0" lang="ru-RU" altLang="en-US" sz="1600" b="0" i="0" u="none" strike="noStrike" cap="none" normalizeH="0" baseline="0" dirty="0" smtClean="0">
                <a:ln>
                  <a:noFill/>
                </a:ln>
                <a:effectLst/>
                <a:latin typeface="+mj-lt"/>
                <a:cs typeface="Segoe UI" panose="020B0502040204020203" pitchFamily="34" charset="0"/>
              </a:rPr>
              <a:t>в области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аудита, управленческого, финансового, налогового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 и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юридического консультирования</a:t>
            </a:r>
            <a:endParaRPr lang="en-US" altLang="en-US" sz="2200" b="1" dirty="0">
              <a:solidFill>
                <a:schemeClr val="accent1"/>
              </a:solidFill>
              <a:latin typeface="+mj-lt"/>
              <a:cs typeface="Segoe UI" panose="020B0502040204020203" pitchFamily="34" charset="0"/>
            </a:endParaRPr>
          </a:p>
          <a:p>
            <a:pPr lvl="0" defTabSz="914400" eaLnBrk="0" fontAlgn="base" hangingPunct="0">
              <a:spcBef>
                <a:spcPts val="1800"/>
              </a:spcBef>
            </a:pP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Профессиональные знания</a:t>
            </a:r>
            <a:r>
              <a:rPr lang="ru-RU" altLang="en-US" sz="1600" b="1" dirty="0"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и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опыт </a:t>
            </a:r>
            <a:r>
              <a:rPr lang="ru-RU" altLang="en-US" sz="2200" b="1" dirty="0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около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2 000 сотрудников </a:t>
            </a:r>
            <a:r>
              <a:rPr lang="ru-RU" altLang="en-US" sz="16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позволяют</a:t>
            </a:r>
            <a:r>
              <a:rPr lang="en-US" altLang="en-US" sz="16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нам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оказывать услуги крупнейшим государственным и частным</a:t>
            </a:r>
            <a:r>
              <a:rPr lang="en-US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компаниям,</a:t>
            </a:r>
            <a:r>
              <a:rPr lang="ru-RU" altLang="en-US" sz="2200" b="1" dirty="0"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работающим в различных отраслях </a:t>
            </a: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экономики</a:t>
            </a:r>
            <a:endParaRPr lang="ru-RU" altLang="en-US" sz="1600" dirty="0">
              <a:latin typeface="+mj-lt"/>
              <a:cs typeface="Segoe UI" panose="020B0502040204020203" pitchFamily="34" charset="0"/>
            </a:endParaRPr>
          </a:p>
          <a:p>
            <a:pPr lvl="0" defTabSz="914400" eaLnBrk="0" fontAlgn="base" hangingPunct="0">
              <a:spcBef>
                <a:spcPts val="1800"/>
              </a:spcBef>
            </a:pP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Группа компаний ДРТ</a:t>
            </a:r>
            <a:r>
              <a:rPr lang="ru-RU" altLang="en-US" sz="2200" b="1" dirty="0"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представлена </a:t>
            </a:r>
            <a:r>
              <a:rPr lang="en-US" altLang="en-US" sz="1600" dirty="0" smtClean="0">
                <a:latin typeface="+mj-lt"/>
                <a:cs typeface="Segoe UI" panose="020B0502040204020203" pitchFamily="34" charset="0"/>
              </a:rPr>
              <a:t/>
            </a:r>
            <a:br>
              <a:rPr lang="en-US" altLang="en-US" sz="1600" dirty="0" smtClean="0">
                <a:latin typeface="+mj-lt"/>
                <a:cs typeface="Segoe UI" panose="020B0502040204020203" pitchFamily="34" charset="0"/>
              </a:rPr>
            </a:b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в </a:t>
            </a:r>
            <a:r>
              <a:rPr lang="ru-RU" altLang="en-US" sz="2200" b="1" dirty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rPr>
              <a:t>восьми городах</a:t>
            </a:r>
            <a:r>
              <a:rPr lang="ru-RU" altLang="en-US" sz="2200" b="1" dirty="0"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России, </a:t>
            </a: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Беларуси</a:t>
            </a:r>
            <a:r>
              <a:rPr lang="en-US" altLang="en-US" sz="1600" dirty="0" smtClean="0">
                <a:latin typeface="+mj-lt"/>
                <a:cs typeface="Segoe UI" panose="020B0502040204020203" pitchFamily="34" charset="0"/>
              </a:rPr>
              <a:t> </a:t>
            </a:r>
            <a:br>
              <a:rPr lang="en-US" altLang="en-US" sz="1600" dirty="0" smtClean="0">
                <a:latin typeface="+mj-lt"/>
                <a:cs typeface="Segoe UI" panose="020B0502040204020203" pitchFamily="34" charset="0"/>
              </a:rPr>
            </a:b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и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Казахстана — Москве, Санкт-Петербурге, Уфе, </a:t>
            </a: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Екатеринбурге,</a:t>
            </a:r>
            <a:r>
              <a:rPr lang="en-US" altLang="en-US" sz="1600" dirty="0" smtClean="0">
                <a:latin typeface="+mj-lt"/>
                <a:cs typeface="Segoe UI" panose="020B0502040204020203" pitchFamily="34" charset="0"/>
              </a:rPr>
              <a:t> </a:t>
            </a: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Новосибирске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, Владивостоке, </a:t>
            </a:r>
            <a:r>
              <a:rPr lang="en-US" altLang="en-US" sz="1600" dirty="0" smtClean="0">
                <a:latin typeface="+mj-lt"/>
                <a:cs typeface="Segoe UI" panose="020B0502040204020203" pitchFamily="34" charset="0"/>
              </a:rPr>
              <a:t/>
            </a:r>
            <a:br>
              <a:rPr lang="en-US" altLang="en-US" sz="1600" dirty="0" smtClean="0">
                <a:latin typeface="+mj-lt"/>
                <a:cs typeface="Segoe UI" panose="020B0502040204020203" pitchFamily="34" charset="0"/>
              </a:rPr>
            </a:b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Минске </a:t>
            </a:r>
            <a:r>
              <a:rPr lang="ru-RU" altLang="en-US" sz="1600" dirty="0">
                <a:latin typeface="+mj-lt"/>
                <a:cs typeface="Segoe UI" panose="020B0502040204020203" pitchFamily="34" charset="0"/>
              </a:rPr>
              <a:t>и </a:t>
            </a:r>
            <a:r>
              <a:rPr lang="ru-RU" altLang="en-US" sz="1600" dirty="0" smtClean="0">
                <a:latin typeface="+mj-lt"/>
                <a:cs typeface="Segoe UI" panose="020B0502040204020203" pitchFamily="34" charset="0"/>
              </a:rPr>
              <a:t>Астане</a:t>
            </a:r>
            <a:endParaRPr kumimoji="0" lang="ru-RU" altLang="en-US" sz="1600" b="0" i="0" u="none" strike="noStrike" cap="none" normalizeH="0" baseline="0" dirty="0" smtClean="0">
              <a:ln>
                <a:noFill/>
              </a:ln>
              <a:effectLst/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302" y="0"/>
            <a:ext cx="5958840" cy="6858000"/>
          </a:xfrm>
          <a:prstGeom prst="rect">
            <a:avLst/>
          </a:prstGeom>
        </p:spPr>
      </p:pic>
      <p:grpSp>
        <p:nvGrpSpPr>
          <p:cNvPr id="10" name="Graphic 4">
            <a:extLst>
              <a:ext uri="{FF2B5EF4-FFF2-40B4-BE49-F238E27FC236}">
                <a16:creationId xmlns:a16="http://schemas.microsoft.com/office/drawing/2014/main" xmlns="" id="{E0849CD7-2E2B-F940-AC1F-0E95CAE13B70}"/>
              </a:ext>
            </a:extLst>
          </p:cNvPr>
          <p:cNvGrpSpPr/>
          <p:nvPr/>
        </p:nvGrpSpPr>
        <p:grpSpPr>
          <a:xfrm>
            <a:off x="6252283" y="1066532"/>
            <a:ext cx="540000" cy="540000"/>
            <a:chOff x="2559808" y="2371173"/>
            <a:chExt cx="362313" cy="361971"/>
          </a:xfrm>
          <a:solidFill>
            <a:schemeClr val="accent1"/>
          </a:solidFill>
        </p:grpSpPr>
        <p:sp>
          <p:nvSpPr>
            <p:cNvPr id="11" name="Graphic 4">
              <a:extLst>
                <a:ext uri="{FF2B5EF4-FFF2-40B4-BE49-F238E27FC236}">
                  <a16:creationId xmlns:a16="http://schemas.microsoft.com/office/drawing/2014/main" xmlns="" id="{3E8C0913-81CC-E941-8C6A-F9C5EACB24C8}"/>
                </a:ext>
              </a:extLst>
            </p:cNvPr>
            <p:cNvSpPr/>
            <p:nvPr/>
          </p:nvSpPr>
          <p:spPr>
            <a:xfrm>
              <a:off x="2559808" y="2371173"/>
              <a:ext cx="362313" cy="361971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09 w 362313"/>
                <a:gd name="connsiteY3" fmla="*/ 181305 h 361971"/>
                <a:gd name="connsiteX4" fmla="*/ 362309 w 362313"/>
                <a:gd name="connsiteY4" fmla="*/ 181305 h 361971"/>
                <a:gd name="connsiteX5" fmla="*/ 181474 w 362313"/>
                <a:gd name="connsiteY5" fmla="*/ 0 h 361971"/>
                <a:gd name="connsiteX6" fmla="*/ 181474 w 362313"/>
                <a:gd name="connsiteY6" fmla="*/ 349204 h 361971"/>
                <a:gd name="connsiteX7" fmla="*/ 12780 w 362313"/>
                <a:gd name="connsiteY7" fmla="*/ 181305 h 361971"/>
                <a:gd name="connsiteX8" fmla="*/ 180835 w 362313"/>
                <a:gd name="connsiteY8" fmla="*/ 12768 h 361971"/>
                <a:gd name="connsiteX9" fmla="*/ 349529 w 362313"/>
                <a:gd name="connsiteY9" fmla="*/ 180667 h 361971"/>
                <a:gd name="connsiteX10" fmla="*/ 349529 w 362313"/>
                <a:gd name="connsiteY10" fmla="*/ 180667 h 361971"/>
                <a:gd name="connsiteX11" fmla="*/ 181474 w 362313"/>
                <a:gd name="connsiteY11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8" y="81077"/>
                    <a:pt x="281796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0667"/>
                  </a:cubicBezTo>
                  <a:cubicBezTo>
                    <a:pt x="349529" y="180667"/>
                    <a:pt x="349529" y="180667"/>
                    <a:pt x="349529" y="180667"/>
                  </a:cubicBezTo>
                  <a:cubicBezTo>
                    <a:pt x="350168" y="273873"/>
                    <a:pt x="274767" y="349204"/>
                    <a:pt x="181474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Graphic 4">
              <a:extLst>
                <a:ext uri="{FF2B5EF4-FFF2-40B4-BE49-F238E27FC236}">
                  <a16:creationId xmlns:a16="http://schemas.microsoft.com/office/drawing/2014/main" xmlns="" id="{521B05A3-67A5-B940-8260-8C4469B72797}"/>
                </a:ext>
              </a:extLst>
            </p:cNvPr>
            <p:cNvSpPr/>
            <p:nvPr/>
          </p:nvSpPr>
          <p:spPr>
            <a:xfrm>
              <a:off x="2709972" y="2639939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Graphic 4">
              <a:extLst>
                <a:ext uri="{FF2B5EF4-FFF2-40B4-BE49-F238E27FC236}">
                  <a16:creationId xmlns:a16="http://schemas.microsoft.com/office/drawing/2014/main" xmlns="" id="{E23797AD-A870-8D4B-BCBA-5D15246F83D2}"/>
                </a:ext>
              </a:extLst>
            </p:cNvPr>
            <p:cNvSpPr/>
            <p:nvPr/>
          </p:nvSpPr>
          <p:spPr>
            <a:xfrm>
              <a:off x="2709972" y="2570992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Graphic 4">
              <a:extLst>
                <a:ext uri="{FF2B5EF4-FFF2-40B4-BE49-F238E27FC236}">
                  <a16:creationId xmlns:a16="http://schemas.microsoft.com/office/drawing/2014/main" xmlns="" id="{465ABB25-384E-AE48-8D81-F63E1AC50F99}"/>
                </a:ext>
              </a:extLst>
            </p:cNvPr>
            <p:cNvSpPr/>
            <p:nvPr/>
          </p:nvSpPr>
          <p:spPr>
            <a:xfrm>
              <a:off x="2709972" y="2502683"/>
              <a:ext cx="124603" cy="12767"/>
            </a:xfrm>
            <a:custGeom>
              <a:avLst/>
              <a:gdLst>
                <a:gd name="connsiteX0" fmla="*/ 118853 w 124603"/>
                <a:gd name="connsiteY0" fmla="*/ 0 h 12767"/>
                <a:gd name="connsiteX1" fmla="*/ 6390 w 124603"/>
                <a:gd name="connsiteY1" fmla="*/ 0 h 12767"/>
                <a:gd name="connsiteX2" fmla="*/ 0 w 124603"/>
                <a:gd name="connsiteY2" fmla="*/ 6384 h 12767"/>
                <a:gd name="connsiteX3" fmla="*/ 6390 w 124603"/>
                <a:gd name="connsiteY3" fmla="*/ 12768 h 12767"/>
                <a:gd name="connsiteX4" fmla="*/ 118214 w 124603"/>
                <a:gd name="connsiteY4" fmla="*/ 12768 h 12767"/>
                <a:gd name="connsiteX5" fmla="*/ 124604 w 124603"/>
                <a:gd name="connsiteY5" fmla="*/ 6384 h 12767"/>
                <a:gd name="connsiteX6" fmla="*/ 118853 w 124603"/>
                <a:gd name="connsiteY6" fmla="*/ 0 h 12767"/>
                <a:gd name="connsiteX7" fmla="*/ 118853 w 124603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03" h="12767">
                  <a:moveTo>
                    <a:pt x="118853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118214" y="12768"/>
                  </a:lnTo>
                  <a:cubicBezTo>
                    <a:pt x="122048" y="12768"/>
                    <a:pt x="124604" y="10214"/>
                    <a:pt x="124604" y="6384"/>
                  </a:cubicBezTo>
                  <a:cubicBezTo>
                    <a:pt x="124604" y="2554"/>
                    <a:pt x="122687" y="0"/>
                    <a:pt x="118853" y="0"/>
                  </a:cubicBezTo>
                  <a:lnTo>
                    <a:pt x="118853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Graphic 4">
              <a:extLst>
                <a:ext uri="{FF2B5EF4-FFF2-40B4-BE49-F238E27FC236}">
                  <a16:creationId xmlns:a16="http://schemas.microsoft.com/office/drawing/2014/main" xmlns="" id="{F2A884A1-D4CA-F742-A5E9-7FFAEED49D36}"/>
                </a:ext>
              </a:extLst>
            </p:cNvPr>
            <p:cNvSpPr/>
            <p:nvPr/>
          </p:nvSpPr>
          <p:spPr>
            <a:xfrm>
              <a:off x="2647350" y="2451611"/>
              <a:ext cx="78045" cy="63839"/>
            </a:xfrm>
            <a:custGeom>
              <a:avLst/>
              <a:gdLst>
                <a:gd name="connsiteX0" fmla="*/ 15975 w 78045"/>
                <a:gd name="connsiteY0" fmla="*/ 63840 h 63839"/>
                <a:gd name="connsiteX1" fmla="*/ 39618 w 78045"/>
                <a:gd name="connsiteY1" fmla="*/ 63840 h 63839"/>
                <a:gd name="connsiteX2" fmla="*/ 55593 w 78045"/>
                <a:gd name="connsiteY2" fmla="*/ 47880 h 63839"/>
                <a:gd name="connsiteX3" fmla="*/ 55593 w 78045"/>
                <a:gd name="connsiteY3" fmla="*/ 30005 h 63839"/>
                <a:gd name="connsiteX4" fmla="*/ 76040 w 78045"/>
                <a:gd name="connsiteY4" fmla="*/ 10853 h 63839"/>
                <a:gd name="connsiteX5" fmla="*/ 76679 w 78045"/>
                <a:gd name="connsiteY5" fmla="*/ 1915 h 63839"/>
                <a:gd name="connsiteX6" fmla="*/ 76679 w 78045"/>
                <a:gd name="connsiteY6" fmla="*/ 1915 h 63839"/>
                <a:gd name="connsiteX7" fmla="*/ 67733 w 78045"/>
                <a:gd name="connsiteY7" fmla="*/ 1915 h 63839"/>
                <a:gd name="connsiteX8" fmla="*/ 51759 w 78045"/>
                <a:gd name="connsiteY8" fmla="*/ 16598 h 63839"/>
                <a:gd name="connsiteX9" fmla="*/ 39618 w 78045"/>
                <a:gd name="connsiteY9" fmla="*/ 10853 h 63839"/>
                <a:gd name="connsiteX10" fmla="*/ 15975 w 78045"/>
                <a:gd name="connsiteY10" fmla="*/ 10853 h 63839"/>
                <a:gd name="connsiteX11" fmla="*/ 0 w 78045"/>
                <a:gd name="connsiteY11" fmla="*/ 26813 h 63839"/>
                <a:gd name="connsiteX12" fmla="*/ 0 w 78045"/>
                <a:gd name="connsiteY12" fmla="*/ 48518 h 63839"/>
                <a:gd name="connsiteX13" fmla="*/ 15975 w 78045"/>
                <a:gd name="connsiteY13" fmla="*/ 63840 h 63839"/>
                <a:gd name="connsiteX14" fmla="*/ 15975 w 78045"/>
                <a:gd name="connsiteY14" fmla="*/ 63840 h 63839"/>
                <a:gd name="connsiteX15" fmla="*/ 42813 w 78045"/>
                <a:gd name="connsiteY15" fmla="*/ 47880 h 63839"/>
                <a:gd name="connsiteX16" fmla="*/ 39618 w 78045"/>
                <a:gd name="connsiteY16" fmla="*/ 51072 h 63839"/>
                <a:gd name="connsiteX17" fmla="*/ 15975 w 78045"/>
                <a:gd name="connsiteY17" fmla="*/ 51072 h 63839"/>
                <a:gd name="connsiteX18" fmla="*/ 12780 w 78045"/>
                <a:gd name="connsiteY18" fmla="*/ 47880 h 63839"/>
                <a:gd name="connsiteX19" fmla="*/ 12780 w 78045"/>
                <a:gd name="connsiteY19" fmla="*/ 37027 h 63839"/>
                <a:gd name="connsiteX20" fmla="*/ 25560 w 78045"/>
                <a:gd name="connsiteY20" fmla="*/ 49157 h 63839"/>
                <a:gd name="connsiteX21" fmla="*/ 30033 w 78045"/>
                <a:gd name="connsiteY21" fmla="*/ 51072 h 63839"/>
                <a:gd name="connsiteX22" fmla="*/ 34506 w 78045"/>
                <a:gd name="connsiteY22" fmla="*/ 49157 h 63839"/>
                <a:gd name="connsiteX23" fmla="*/ 42174 w 78045"/>
                <a:gd name="connsiteY23" fmla="*/ 42134 h 63839"/>
                <a:gd name="connsiteX24" fmla="*/ 42174 w 78045"/>
                <a:gd name="connsiteY24" fmla="*/ 47880 h 63839"/>
                <a:gd name="connsiteX25" fmla="*/ 15975 w 78045"/>
                <a:gd name="connsiteY25" fmla="*/ 23621 h 63839"/>
                <a:gd name="connsiteX26" fmla="*/ 39618 w 78045"/>
                <a:gd name="connsiteY26" fmla="*/ 23621 h 63839"/>
                <a:gd name="connsiteX27" fmla="*/ 42174 w 78045"/>
                <a:gd name="connsiteY27" fmla="*/ 24897 h 63839"/>
                <a:gd name="connsiteX28" fmla="*/ 30672 w 78045"/>
                <a:gd name="connsiteY28" fmla="*/ 35750 h 63839"/>
                <a:gd name="connsiteX29" fmla="*/ 21087 w 78045"/>
                <a:gd name="connsiteY29" fmla="*/ 26813 h 63839"/>
                <a:gd name="connsiteX30" fmla="*/ 13419 w 78045"/>
                <a:gd name="connsiteY30" fmla="*/ 26174 h 63839"/>
                <a:gd name="connsiteX31" fmla="*/ 13419 w 78045"/>
                <a:gd name="connsiteY31" fmla="*/ 26174 h 63839"/>
                <a:gd name="connsiteX32" fmla="*/ 15975 w 78045"/>
                <a:gd name="connsiteY32" fmla="*/ 23621 h 63839"/>
                <a:gd name="connsiteX33" fmla="*/ 15975 w 78045"/>
                <a:gd name="connsiteY33" fmla="*/ 23621 h 63839"/>
                <a:gd name="connsiteX34" fmla="*/ 15975 w 78045"/>
                <a:gd name="connsiteY34" fmla="*/ 23621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045" h="63839">
                  <a:moveTo>
                    <a:pt x="15975" y="63840"/>
                  </a:moveTo>
                  <a:lnTo>
                    <a:pt x="39618" y="63840"/>
                  </a:lnTo>
                  <a:cubicBezTo>
                    <a:pt x="48564" y="63840"/>
                    <a:pt x="55593" y="56817"/>
                    <a:pt x="55593" y="47880"/>
                  </a:cubicBezTo>
                  <a:lnTo>
                    <a:pt x="55593" y="30005"/>
                  </a:lnTo>
                  <a:lnTo>
                    <a:pt x="76040" y="10853"/>
                  </a:lnTo>
                  <a:cubicBezTo>
                    <a:pt x="78596" y="8299"/>
                    <a:pt x="78596" y="4469"/>
                    <a:pt x="76679" y="1915"/>
                  </a:cubicBezTo>
                  <a:cubicBezTo>
                    <a:pt x="76679" y="1915"/>
                    <a:pt x="76679" y="1915"/>
                    <a:pt x="76679" y="1915"/>
                  </a:cubicBezTo>
                  <a:cubicBezTo>
                    <a:pt x="74123" y="-638"/>
                    <a:pt x="70289" y="-638"/>
                    <a:pt x="67733" y="1915"/>
                  </a:cubicBezTo>
                  <a:lnTo>
                    <a:pt x="51759" y="16598"/>
                  </a:lnTo>
                  <a:cubicBezTo>
                    <a:pt x="48564" y="12768"/>
                    <a:pt x="44730" y="10853"/>
                    <a:pt x="39618" y="10853"/>
                  </a:cubicBezTo>
                  <a:lnTo>
                    <a:pt x="15975" y="10853"/>
                  </a:lnTo>
                  <a:cubicBezTo>
                    <a:pt x="7029" y="10853"/>
                    <a:pt x="0" y="17875"/>
                    <a:pt x="0" y="26813"/>
                  </a:cubicBezTo>
                  <a:lnTo>
                    <a:pt x="0" y="48518"/>
                  </a:lnTo>
                  <a:cubicBezTo>
                    <a:pt x="639" y="56817"/>
                    <a:pt x="7668" y="63840"/>
                    <a:pt x="15975" y="63840"/>
                  </a:cubicBezTo>
                  <a:lnTo>
                    <a:pt x="15975" y="63840"/>
                  </a:lnTo>
                  <a:close/>
                  <a:moveTo>
                    <a:pt x="42813" y="47880"/>
                  </a:moveTo>
                  <a:cubicBezTo>
                    <a:pt x="42813" y="49795"/>
                    <a:pt x="41535" y="51072"/>
                    <a:pt x="39618" y="51072"/>
                  </a:cubicBezTo>
                  <a:lnTo>
                    <a:pt x="15975" y="51072"/>
                  </a:lnTo>
                  <a:cubicBezTo>
                    <a:pt x="14058" y="51072"/>
                    <a:pt x="12780" y="49795"/>
                    <a:pt x="12780" y="47880"/>
                  </a:cubicBezTo>
                  <a:lnTo>
                    <a:pt x="12780" y="37027"/>
                  </a:lnTo>
                  <a:lnTo>
                    <a:pt x="25560" y="49157"/>
                  </a:lnTo>
                  <a:cubicBezTo>
                    <a:pt x="26838" y="50433"/>
                    <a:pt x="28116" y="51072"/>
                    <a:pt x="30033" y="51072"/>
                  </a:cubicBezTo>
                  <a:cubicBezTo>
                    <a:pt x="31950" y="51072"/>
                    <a:pt x="33228" y="50433"/>
                    <a:pt x="34506" y="49157"/>
                  </a:cubicBezTo>
                  <a:lnTo>
                    <a:pt x="42174" y="42134"/>
                  </a:lnTo>
                  <a:lnTo>
                    <a:pt x="42174" y="47880"/>
                  </a:lnTo>
                  <a:close/>
                  <a:moveTo>
                    <a:pt x="15975" y="23621"/>
                  </a:moveTo>
                  <a:lnTo>
                    <a:pt x="39618" y="23621"/>
                  </a:lnTo>
                  <a:cubicBezTo>
                    <a:pt x="40896" y="23621"/>
                    <a:pt x="41535" y="24259"/>
                    <a:pt x="42174" y="24897"/>
                  </a:cubicBezTo>
                  <a:lnTo>
                    <a:pt x="30672" y="35750"/>
                  </a:lnTo>
                  <a:lnTo>
                    <a:pt x="21087" y="26813"/>
                  </a:lnTo>
                  <a:cubicBezTo>
                    <a:pt x="19170" y="24897"/>
                    <a:pt x="15336" y="24897"/>
                    <a:pt x="13419" y="26174"/>
                  </a:cubicBezTo>
                  <a:lnTo>
                    <a:pt x="13419" y="26174"/>
                  </a:lnTo>
                  <a:cubicBezTo>
                    <a:pt x="13419" y="24897"/>
                    <a:pt x="14697" y="23621"/>
                    <a:pt x="15975" y="23621"/>
                  </a:cubicBezTo>
                  <a:cubicBezTo>
                    <a:pt x="15975" y="23621"/>
                    <a:pt x="15975" y="23621"/>
                    <a:pt x="15975" y="23621"/>
                  </a:cubicBezTo>
                  <a:lnTo>
                    <a:pt x="15975" y="2362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Graphic 4">
              <a:extLst>
                <a:ext uri="{FF2B5EF4-FFF2-40B4-BE49-F238E27FC236}">
                  <a16:creationId xmlns:a16="http://schemas.microsoft.com/office/drawing/2014/main" xmlns="" id="{2D57A288-B39D-7642-B7BF-F827B4224DFD}"/>
                </a:ext>
              </a:extLst>
            </p:cNvPr>
            <p:cNvSpPr/>
            <p:nvPr/>
          </p:nvSpPr>
          <p:spPr>
            <a:xfrm>
              <a:off x="2647350" y="2519832"/>
              <a:ext cx="78045" cy="63928"/>
            </a:xfrm>
            <a:custGeom>
              <a:avLst/>
              <a:gdLst>
                <a:gd name="connsiteX0" fmla="*/ 15975 w 78045"/>
                <a:gd name="connsiteY0" fmla="*/ 63928 h 63928"/>
                <a:gd name="connsiteX1" fmla="*/ 39618 w 78045"/>
                <a:gd name="connsiteY1" fmla="*/ 63928 h 63928"/>
                <a:gd name="connsiteX2" fmla="*/ 55593 w 78045"/>
                <a:gd name="connsiteY2" fmla="*/ 47968 h 63928"/>
                <a:gd name="connsiteX3" fmla="*/ 55593 w 78045"/>
                <a:gd name="connsiteY3" fmla="*/ 30093 h 63928"/>
                <a:gd name="connsiteX4" fmla="*/ 76040 w 78045"/>
                <a:gd name="connsiteY4" fmla="*/ 10941 h 63928"/>
                <a:gd name="connsiteX5" fmla="*/ 76679 w 78045"/>
                <a:gd name="connsiteY5" fmla="*/ 2004 h 63928"/>
                <a:gd name="connsiteX6" fmla="*/ 67733 w 78045"/>
                <a:gd name="connsiteY6" fmla="*/ 1365 h 63928"/>
                <a:gd name="connsiteX7" fmla="*/ 67733 w 78045"/>
                <a:gd name="connsiteY7" fmla="*/ 1365 h 63928"/>
                <a:gd name="connsiteX8" fmla="*/ 51759 w 78045"/>
                <a:gd name="connsiteY8" fmla="*/ 16048 h 63928"/>
                <a:gd name="connsiteX9" fmla="*/ 39618 w 78045"/>
                <a:gd name="connsiteY9" fmla="*/ 10303 h 63928"/>
                <a:gd name="connsiteX10" fmla="*/ 15975 w 78045"/>
                <a:gd name="connsiteY10" fmla="*/ 10303 h 63928"/>
                <a:gd name="connsiteX11" fmla="*/ 0 w 78045"/>
                <a:gd name="connsiteY11" fmla="*/ 26263 h 63928"/>
                <a:gd name="connsiteX12" fmla="*/ 0 w 78045"/>
                <a:gd name="connsiteY12" fmla="*/ 47968 h 63928"/>
                <a:gd name="connsiteX13" fmla="*/ 15975 w 78045"/>
                <a:gd name="connsiteY13" fmla="*/ 63928 h 63928"/>
                <a:gd name="connsiteX14" fmla="*/ 42813 w 78045"/>
                <a:gd name="connsiteY14" fmla="*/ 48607 h 63928"/>
                <a:gd name="connsiteX15" fmla="*/ 39618 w 78045"/>
                <a:gd name="connsiteY15" fmla="*/ 51799 h 63928"/>
                <a:gd name="connsiteX16" fmla="*/ 15975 w 78045"/>
                <a:gd name="connsiteY16" fmla="*/ 51799 h 63928"/>
                <a:gd name="connsiteX17" fmla="*/ 12780 w 78045"/>
                <a:gd name="connsiteY17" fmla="*/ 48607 h 63928"/>
                <a:gd name="connsiteX18" fmla="*/ 12780 w 78045"/>
                <a:gd name="connsiteY18" fmla="*/ 37754 h 63928"/>
                <a:gd name="connsiteX19" fmla="*/ 25560 w 78045"/>
                <a:gd name="connsiteY19" fmla="*/ 49883 h 63928"/>
                <a:gd name="connsiteX20" fmla="*/ 34506 w 78045"/>
                <a:gd name="connsiteY20" fmla="*/ 49883 h 63928"/>
                <a:gd name="connsiteX21" fmla="*/ 42174 w 78045"/>
                <a:gd name="connsiteY21" fmla="*/ 42861 h 63928"/>
                <a:gd name="connsiteX22" fmla="*/ 42813 w 78045"/>
                <a:gd name="connsiteY22" fmla="*/ 48607 h 63928"/>
                <a:gd name="connsiteX23" fmla="*/ 15975 w 78045"/>
                <a:gd name="connsiteY23" fmla="*/ 23709 h 63928"/>
                <a:gd name="connsiteX24" fmla="*/ 39618 w 78045"/>
                <a:gd name="connsiteY24" fmla="*/ 23709 h 63928"/>
                <a:gd name="connsiteX25" fmla="*/ 42174 w 78045"/>
                <a:gd name="connsiteY25" fmla="*/ 24986 h 63928"/>
                <a:gd name="connsiteX26" fmla="*/ 30033 w 78045"/>
                <a:gd name="connsiteY26" fmla="*/ 35839 h 63928"/>
                <a:gd name="connsiteX27" fmla="*/ 20448 w 78045"/>
                <a:gd name="connsiteY27" fmla="*/ 26901 h 63928"/>
                <a:gd name="connsiteX28" fmla="*/ 12780 w 78045"/>
                <a:gd name="connsiteY28" fmla="*/ 26263 h 63928"/>
                <a:gd name="connsiteX29" fmla="*/ 12780 w 78045"/>
                <a:gd name="connsiteY29" fmla="*/ 26263 h 63928"/>
                <a:gd name="connsiteX30" fmla="*/ 15975 w 78045"/>
                <a:gd name="connsiteY30" fmla="*/ 23709 h 63928"/>
                <a:gd name="connsiteX31" fmla="*/ 15975 w 78045"/>
                <a:gd name="connsiteY31" fmla="*/ 23709 h 63928"/>
                <a:gd name="connsiteX32" fmla="*/ 15975 w 78045"/>
                <a:gd name="connsiteY32" fmla="*/ 23709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8045" h="63928">
                  <a:moveTo>
                    <a:pt x="15975" y="63928"/>
                  </a:move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639" y="56906"/>
                    <a:pt x="7668" y="63928"/>
                    <a:pt x="15975" y="63928"/>
                  </a:cubicBezTo>
                  <a:close/>
                  <a:moveTo>
                    <a:pt x="42813" y="48607"/>
                  </a:moveTo>
                  <a:cubicBezTo>
                    <a:pt x="42813" y="50522"/>
                    <a:pt x="41535" y="51799"/>
                    <a:pt x="39618" y="51799"/>
                  </a:cubicBezTo>
                  <a:lnTo>
                    <a:pt x="15975" y="51799"/>
                  </a:lnTo>
                  <a:cubicBezTo>
                    <a:pt x="14058" y="51799"/>
                    <a:pt x="12780" y="50522"/>
                    <a:pt x="12780" y="48607"/>
                  </a:cubicBezTo>
                  <a:lnTo>
                    <a:pt x="12780" y="37754"/>
                  </a:lnTo>
                  <a:lnTo>
                    <a:pt x="25560" y="49883"/>
                  </a:lnTo>
                  <a:cubicBezTo>
                    <a:pt x="28116" y="51799"/>
                    <a:pt x="31950" y="51799"/>
                    <a:pt x="34506" y="49883"/>
                  </a:cubicBezTo>
                  <a:lnTo>
                    <a:pt x="42174" y="42861"/>
                  </a:lnTo>
                  <a:lnTo>
                    <a:pt x="42813" y="48607"/>
                  </a:lnTo>
                  <a:close/>
                  <a:moveTo>
                    <a:pt x="15975" y="23709"/>
                  </a:moveTo>
                  <a:lnTo>
                    <a:pt x="39618" y="23709"/>
                  </a:lnTo>
                  <a:cubicBezTo>
                    <a:pt x="40896" y="23709"/>
                    <a:pt x="41535" y="24347"/>
                    <a:pt x="42174" y="24986"/>
                  </a:cubicBezTo>
                  <a:lnTo>
                    <a:pt x="30033" y="35839"/>
                  </a:lnTo>
                  <a:lnTo>
                    <a:pt x="20448" y="26901"/>
                  </a:lnTo>
                  <a:cubicBezTo>
                    <a:pt x="18531" y="24986"/>
                    <a:pt x="14697" y="24986"/>
                    <a:pt x="12780" y="26263"/>
                  </a:cubicBezTo>
                  <a:lnTo>
                    <a:pt x="12780" y="26263"/>
                  </a:lnTo>
                  <a:cubicBezTo>
                    <a:pt x="12780" y="25624"/>
                    <a:pt x="14058" y="23709"/>
                    <a:pt x="15975" y="23709"/>
                  </a:cubicBezTo>
                  <a:cubicBezTo>
                    <a:pt x="15975" y="23709"/>
                    <a:pt x="15975" y="23709"/>
                    <a:pt x="15975" y="23709"/>
                  </a:cubicBezTo>
                  <a:lnTo>
                    <a:pt x="15975" y="2370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Graphic 4">
              <a:extLst>
                <a:ext uri="{FF2B5EF4-FFF2-40B4-BE49-F238E27FC236}">
                  <a16:creationId xmlns:a16="http://schemas.microsoft.com/office/drawing/2014/main" xmlns="" id="{D9CADEC1-E852-9349-975E-131498F5192B}"/>
                </a:ext>
              </a:extLst>
            </p:cNvPr>
            <p:cNvSpPr/>
            <p:nvPr/>
          </p:nvSpPr>
          <p:spPr>
            <a:xfrm>
              <a:off x="2647350" y="2588779"/>
              <a:ext cx="78045" cy="63928"/>
            </a:xfrm>
            <a:custGeom>
              <a:avLst/>
              <a:gdLst>
                <a:gd name="connsiteX0" fmla="*/ 76040 w 78045"/>
                <a:gd name="connsiteY0" fmla="*/ 10941 h 63928"/>
                <a:gd name="connsiteX1" fmla="*/ 76679 w 78045"/>
                <a:gd name="connsiteY1" fmla="*/ 2004 h 63928"/>
                <a:gd name="connsiteX2" fmla="*/ 67733 w 78045"/>
                <a:gd name="connsiteY2" fmla="*/ 1365 h 63928"/>
                <a:gd name="connsiteX3" fmla="*/ 67733 w 78045"/>
                <a:gd name="connsiteY3" fmla="*/ 1365 h 63928"/>
                <a:gd name="connsiteX4" fmla="*/ 51759 w 78045"/>
                <a:gd name="connsiteY4" fmla="*/ 16048 h 63928"/>
                <a:gd name="connsiteX5" fmla="*/ 39618 w 78045"/>
                <a:gd name="connsiteY5" fmla="*/ 10303 h 63928"/>
                <a:gd name="connsiteX6" fmla="*/ 15975 w 78045"/>
                <a:gd name="connsiteY6" fmla="*/ 10303 h 63928"/>
                <a:gd name="connsiteX7" fmla="*/ 0 w 78045"/>
                <a:gd name="connsiteY7" fmla="*/ 26263 h 63928"/>
                <a:gd name="connsiteX8" fmla="*/ 0 w 78045"/>
                <a:gd name="connsiteY8" fmla="*/ 47968 h 63928"/>
                <a:gd name="connsiteX9" fmla="*/ 15975 w 78045"/>
                <a:gd name="connsiteY9" fmla="*/ 63928 h 63928"/>
                <a:gd name="connsiteX10" fmla="*/ 39618 w 78045"/>
                <a:gd name="connsiteY10" fmla="*/ 63928 h 63928"/>
                <a:gd name="connsiteX11" fmla="*/ 55593 w 78045"/>
                <a:gd name="connsiteY11" fmla="*/ 47968 h 63928"/>
                <a:gd name="connsiteX12" fmla="*/ 55593 w 78045"/>
                <a:gd name="connsiteY12" fmla="*/ 30093 h 63928"/>
                <a:gd name="connsiteX13" fmla="*/ 76040 w 78045"/>
                <a:gd name="connsiteY13" fmla="*/ 10941 h 63928"/>
                <a:gd name="connsiteX14" fmla="*/ 15975 w 78045"/>
                <a:gd name="connsiteY14" fmla="*/ 23071 h 63928"/>
                <a:gd name="connsiteX15" fmla="*/ 39618 w 78045"/>
                <a:gd name="connsiteY15" fmla="*/ 23071 h 63928"/>
                <a:gd name="connsiteX16" fmla="*/ 42174 w 78045"/>
                <a:gd name="connsiteY16" fmla="*/ 24348 h 63928"/>
                <a:gd name="connsiteX17" fmla="*/ 30033 w 78045"/>
                <a:gd name="connsiteY17" fmla="*/ 35200 h 63928"/>
                <a:gd name="connsiteX18" fmla="*/ 20448 w 78045"/>
                <a:gd name="connsiteY18" fmla="*/ 26263 h 63928"/>
                <a:gd name="connsiteX19" fmla="*/ 12780 w 78045"/>
                <a:gd name="connsiteY19" fmla="*/ 25624 h 63928"/>
                <a:gd name="connsiteX20" fmla="*/ 12780 w 78045"/>
                <a:gd name="connsiteY20" fmla="*/ 25624 h 63928"/>
                <a:gd name="connsiteX21" fmla="*/ 15975 w 78045"/>
                <a:gd name="connsiteY21" fmla="*/ 23071 h 63928"/>
                <a:gd name="connsiteX22" fmla="*/ 15975 w 78045"/>
                <a:gd name="connsiteY22" fmla="*/ 23071 h 63928"/>
                <a:gd name="connsiteX23" fmla="*/ 42813 w 78045"/>
                <a:gd name="connsiteY23" fmla="*/ 47968 h 63928"/>
                <a:gd name="connsiteX24" fmla="*/ 39618 w 78045"/>
                <a:gd name="connsiteY24" fmla="*/ 51160 h 63928"/>
                <a:gd name="connsiteX25" fmla="*/ 15975 w 78045"/>
                <a:gd name="connsiteY25" fmla="*/ 51160 h 63928"/>
                <a:gd name="connsiteX26" fmla="*/ 12780 w 78045"/>
                <a:gd name="connsiteY26" fmla="*/ 47968 h 63928"/>
                <a:gd name="connsiteX27" fmla="*/ 12780 w 78045"/>
                <a:gd name="connsiteY27" fmla="*/ 37116 h 63928"/>
                <a:gd name="connsiteX28" fmla="*/ 25560 w 78045"/>
                <a:gd name="connsiteY28" fmla="*/ 49245 h 63928"/>
                <a:gd name="connsiteX29" fmla="*/ 34506 w 78045"/>
                <a:gd name="connsiteY29" fmla="*/ 49245 h 63928"/>
                <a:gd name="connsiteX30" fmla="*/ 42174 w 78045"/>
                <a:gd name="connsiteY30" fmla="*/ 42223 h 63928"/>
                <a:gd name="connsiteX31" fmla="*/ 42813 w 78045"/>
                <a:gd name="connsiteY31" fmla="*/ 47968 h 63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8045" h="63928">
                  <a:moveTo>
                    <a:pt x="76040" y="10941"/>
                  </a:moveTo>
                  <a:cubicBezTo>
                    <a:pt x="78596" y="8388"/>
                    <a:pt x="78596" y="4557"/>
                    <a:pt x="76679" y="2004"/>
                  </a:cubicBezTo>
                  <a:cubicBezTo>
                    <a:pt x="74123" y="-550"/>
                    <a:pt x="70289" y="-550"/>
                    <a:pt x="67733" y="1365"/>
                  </a:cubicBezTo>
                  <a:lnTo>
                    <a:pt x="67733" y="1365"/>
                  </a:lnTo>
                  <a:lnTo>
                    <a:pt x="51759" y="16048"/>
                  </a:lnTo>
                  <a:cubicBezTo>
                    <a:pt x="48564" y="12218"/>
                    <a:pt x="44730" y="10303"/>
                    <a:pt x="39618" y="10303"/>
                  </a:cubicBezTo>
                  <a:lnTo>
                    <a:pt x="15975" y="10303"/>
                  </a:lnTo>
                  <a:cubicBezTo>
                    <a:pt x="7029" y="10303"/>
                    <a:pt x="0" y="17325"/>
                    <a:pt x="0" y="26263"/>
                  </a:cubicBezTo>
                  <a:lnTo>
                    <a:pt x="0" y="47968"/>
                  </a:lnTo>
                  <a:cubicBezTo>
                    <a:pt x="0" y="56906"/>
                    <a:pt x="7029" y="63928"/>
                    <a:pt x="15975" y="63928"/>
                  </a:cubicBezTo>
                  <a:lnTo>
                    <a:pt x="39618" y="63928"/>
                  </a:lnTo>
                  <a:cubicBezTo>
                    <a:pt x="48564" y="63928"/>
                    <a:pt x="55593" y="56906"/>
                    <a:pt x="55593" y="47968"/>
                  </a:cubicBezTo>
                  <a:lnTo>
                    <a:pt x="55593" y="30093"/>
                  </a:lnTo>
                  <a:lnTo>
                    <a:pt x="76040" y="10941"/>
                  </a:lnTo>
                  <a:close/>
                  <a:moveTo>
                    <a:pt x="15975" y="23071"/>
                  </a:moveTo>
                  <a:lnTo>
                    <a:pt x="39618" y="23071"/>
                  </a:lnTo>
                  <a:cubicBezTo>
                    <a:pt x="40896" y="23071"/>
                    <a:pt x="41535" y="23709"/>
                    <a:pt x="42174" y="24348"/>
                  </a:cubicBezTo>
                  <a:lnTo>
                    <a:pt x="30033" y="35200"/>
                  </a:lnTo>
                  <a:lnTo>
                    <a:pt x="20448" y="26263"/>
                  </a:lnTo>
                  <a:cubicBezTo>
                    <a:pt x="18531" y="24348"/>
                    <a:pt x="14697" y="24348"/>
                    <a:pt x="12780" y="25624"/>
                  </a:cubicBezTo>
                  <a:lnTo>
                    <a:pt x="12780" y="25624"/>
                  </a:lnTo>
                  <a:cubicBezTo>
                    <a:pt x="12780" y="24986"/>
                    <a:pt x="14058" y="23709"/>
                    <a:pt x="15975" y="23071"/>
                  </a:cubicBezTo>
                  <a:cubicBezTo>
                    <a:pt x="15975" y="23709"/>
                    <a:pt x="15975" y="23709"/>
                    <a:pt x="15975" y="23071"/>
                  </a:cubicBezTo>
                  <a:close/>
                  <a:moveTo>
                    <a:pt x="42813" y="47968"/>
                  </a:moveTo>
                  <a:cubicBezTo>
                    <a:pt x="42813" y="49884"/>
                    <a:pt x="41535" y="51160"/>
                    <a:pt x="39618" y="51160"/>
                  </a:cubicBezTo>
                  <a:lnTo>
                    <a:pt x="15975" y="51160"/>
                  </a:lnTo>
                  <a:cubicBezTo>
                    <a:pt x="14058" y="51160"/>
                    <a:pt x="12780" y="49884"/>
                    <a:pt x="12780" y="47968"/>
                  </a:cubicBezTo>
                  <a:lnTo>
                    <a:pt x="12780" y="37116"/>
                  </a:lnTo>
                  <a:lnTo>
                    <a:pt x="25560" y="49245"/>
                  </a:lnTo>
                  <a:cubicBezTo>
                    <a:pt x="28116" y="51160"/>
                    <a:pt x="31950" y="51160"/>
                    <a:pt x="34506" y="49245"/>
                  </a:cubicBezTo>
                  <a:lnTo>
                    <a:pt x="42174" y="42223"/>
                  </a:lnTo>
                  <a:lnTo>
                    <a:pt x="42813" y="479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6252283" y="2731819"/>
            <a:ext cx="54872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aphic 4">
            <a:extLst>
              <a:ext uri="{FF2B5EF4-FFF2-40B4-BE49-F238E27FC236}">
                <a16:creationId xmlns:a16="http://schemas.microsoft.com/office/drawing/2014/main" xmlns="" id="{9768D1A2-DEDF-FB44-9B88-A0DAB078FD75}"/>
              </a:ext>
            </a:extLst>
          </p:cNvPr>
          <p:cNvGrpSpPr/>
          <p:nvPr/>
        </p:nvGrpSpPr>
        <p:grpSpPr>
          <a:xfrm>
            <a:off x="6252283" y="2930619"/>
            <a:ext cx="540000" cy="540000"/>
            <a:chOff x="1515054" y="3339623"/>
            <a:chExt cx="362309" cy="361971"/>
          </a:xfrm>
          <a:solidFill>
            <a:schemeClr val="accent1"/>
          </a:solidFill>
        </p:grpSpPr>
        <p:sp>
          <p:nvSpPr>
            <p:cNvPr id="20" name="Graphic 4">
              <a:extLst>
                <a:ext uri="{FF2B5EF4-FFF2-40B4-BE49-F238E27FC236}">
                  <a16:creationId xmlns:a16="http://schemas.microsoft.com/office/drawing/2014/main" xmlns="" id="{ECBBCD3E-4761-3B42-AAEC-F95C5241F7B3}"/>
                </a:ext>
              </a:extLst>
            </p:cNvPr>
            <p:cNvSpPr/>
            <p:nvPr/>
          </p:nvSpPr>
          <p:spPr>
            <a:xfrm>
              <a:off x="1515054" y="33396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2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0835 w 362309"/>
                <a:gd name="connsiteY5" fmla="*/ 0 h 361971"/>
                <a:gd name="connsiteX6" fmla="*/ 180835 w 362309"/>
                <a:gd name="connsiteY6" fmla="*/ 349204 h 361971"/>
                <a:gd name="connsiteX7" fmla="*/ 12780 w 362309"/>
                <a:gd name="connsiteY7" fmla="*/ 180667 h 361971"/>
                <a:gd name="connsiteX8" fmla="*/ 180835 w 362309"/>
                <a:gd name="connsiteY8" fmla="*/ 12768 h 361971"/>
                <a:gd name="connsiteX9" fmla="*/ 349529 w 362309"/>
                <a:gd name="connsiteY9" fmla="*/ 181305 h 361971"/>
                <a:gd name="connsiteX10" fmla="*/ 349529 w 362309"/>
                <a:gd name="connsiteY10" fmla="*/ 181305 h 361971"/>
                <a:gd name="connsiteX11" fmla="*/ 180835 w 362309"/>
                <a:gd name="connsiteY11" fmla="*/ 349204 h 361971"/>
                <a:gd name="connsiteX12" fmla="*/ 180835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1"/>
                    <a:pt x="88181" y="12768"/>
                    <a:pt x="180835" y="12768"/>
                  </a:cubicBezTo>
                  <a:cubicBezTo>
                    <a:pt x="274128" y="12768"/>
                    <a:pt x="349529" y="88099"/>
                    <a:pt x="349529" y="181305"/>
                  </a:cubicBezTo>
                  <a:lnTo>
                    <a:pt x="349529" y="181305"/>
                  </a:lnTo>
                  <a:cubicBezTo>
                    <a:pt x="348891" y="273873"/>
                    <a:pt x="273489" y="349204"/>
                    <a:pt x="180835" y="349204"/>
                  </a:cubicBezTo>
                  <a:lnTo>
                    <a:pt x="180835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Graphic 4">
              <a:extLst>
                <a:ext uri="{FF2B5EF4-FFF2-40B4-BE49-F238E27FC236}">
                  <a16:creationId xmlns:a16="http://schemas.microsoft.com/office/drawing/2014/main" xmlns="" id="{02028FBC-ACE6-1D4A-A98C-9E5010843805}"/>
                </a:ext>
              </a:extLst>
            </p:cNvPr>
            <p:cNvSpPr/>
            <p:nvPr/>
          </p:nvSpPr>
          <p:spPr>
            <a:xfrm>
              <a:off x="1655387" y="3442979"/>
              <a:ext cx="81466" cy="93909"/>
            </a:xfrm>
            <a:custGeom>
              <a:avLst/>
              <a:gdLst>
                <a:gd name="connsiteX0" fmla="*/ 9191 w 81466"/>
                <a:gd name="connsiteY0" fmla="*/ 65819 h 93909"/>
                <a:gd name="connsiteX1" fmla="*/ 16859 w 81466"/>
                <a:gd name="connsiteY1" fmla="*/ 87525 h 93909"/>
                <a:gd name="connsiteX2" fmla="*/ 23249 w 81466"/>
                <a:gd name="connsiteY2" fmla="*/ 93909 h 93909"/>
                <a:gd name="connsiteX3" fmla="*/ 57754 w 81466"/>
                <a:gd name="connsiteY3" fmla="*/ 93909 h 93909"/>
                <a:gd name="connsiteX4" fmla="*/ 64144 w 81466"/>
                <a:gd name="connsiteY4" fmla="*/ 87525 h 93909"/>
                <a:gd name="connsiteX5" fmla="*/ 71812 w 81466"/>
                <a:gd name="connsiteY5" fmla="*/ 65819 h 93909"/>
                <a:gd name="connsiteX6" fmla="*/ 81397 w 81466"/>
                <a:gd name="connsiteY6" fmla="*/ 39007 h 93909"/>
                <a:gd name="connsiteX7" fmla="*/ 39224 w 81466"/>
                <a:gd name="connsiteY7" fmla="*/ 64 h 93909"/>
                <a:gd name="connsiteX8" fmla="*/ 245 w 81466"/>
                <a:gd name="connsiteY8" fmla="*/ 39007 h 93909"/>
                <a:gd name="connsiteX9" fmla="*/ 9191 w 81466"/>
                <a:gd name="connsiteY9" fmla="*/ 65819 h 93909"/>
                <a:gd name="connsiteX10" fmla="*/ 40501 w 81466"/>
                <a:gd name="connsiteY10" fmla="*/ 11555 h 93909"/>
                <a:gd name="connsiteX11" fmla="*/ 68617 w 81466"/>
                <a:gd name="connsiteY11" fmla="*/ 37730 h 93909"/>
                <a:gd name="connsiteX12" fmla="*/ 68617 w 81466"/>
                <a:gd name="connsiteY12" fmla="*/ 39007 h 93909"/>
                <a:gd name="connsiteX13" fmla="*/ 61588 w 81466"/>
                <a:gd name="connsiteY13" fmla="*/ 58158 h 93909"/>
                <a:gd name="connsiteX14" fmla="*/ 51364 w 81466"/>
                <a:gd name="connsiteY14" fmla="*/ 81141 h 93909"/>
                <a:gd name="connsiteX15" fmla="*/ 29000 w 81466"/>
                <a:gd name="connsiteY15" fmla="*/ 81141 h 93909"/>
                <a:gd name="connsiteX16" fmla="*/ 18776 w 81466"/>
                <a:gd name="connsiteY16" fmla="*/ 58158 h 93909"/>
                <a:gd name="connsiteX17" fmla="*/ 11747 w 81466"/>
                <a:gd name="connsiteY17" fmla="*/ 39007 h 93909"/>
                <a:gd name="connsiteX18" fmla="*/ 38585 w 81466"/>
                <a:gd name="connsiteY18" fmla="*/ 12194 h 93909"/>
                <a:gd name="connsiteX19" fmla="*/ 40501 w 81466"/>
                <a:gd name="connsiteY19" fmla="*/ 11555 h 93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466" h="93909">
                  <a:moveTo>
                    <a:pt x="9191" y="65819"/>
                  </a:moveTo>
                  <a:cubicBezTo>
                    <a:pt x="14303" y="71565"/>
                    <a:pt x="17498" y="79864"/>
                    <a:pt x="16859" y="87525"/>
                  </a:cubicBezTo>
                  <a:cubicBezTo>
                    <a:pt x="16859" y="91355"/>
                    <a:pt x="19415" y="93909"/>
                    <a:pt x="23249" y="93909"/>
                  </a:cubicBezTo>
                  <a:lnTo>
                    <a:pt x="57754" y="93909"/>
                  </a:lnTo>
                  <a:cubicBezTo>
                    <a:pt x="61588" y="93909"/>
                    <a:pt x="64144" y="91355"/>
                    <a:pt x="64144" y="87525"/>
                  </a:cubicBezTo>
                  <a:cubicBezTo>
                    <a:pt x="63505" y="79226"/>
                    <a:pt x="66700" y="71565"/>
                    <a:pt x="71812" y="65819"/>
                  </a:cubicBezTo>
                  <a:cubicBezTo>
                    <a:pt x="78202" y="58158"/>
                    <a:pt x="82036" y="48583"/>
                    <a:pt x="81397" y="39007"/>
                  </a:cubicBezTo>
                  <a:cubicBezTo>
                    <a:pt x="80758" y="16663"/>
                    <a:pt x="61588" y="-1212"/>
                    <a:pt x="39224" y="64"/>
                  </a:cubicBezTo>
                  <a:cubicBezTo>
                    <a:pt x="18137" y="703"/>
                    <a:pt x="884" y="17939"/>
                    <a:pt x="245" y="39007"/>
                  </a:cubicBezTo>
                  <a:cubicBezTo>
                    <a:pt x="-1033" y="48583"/>
                    <a:pt x="2801" y="58158"/>
                    <a:pt x="9191" y="65819"/>
                  </a:cubicBezTo>
                  <a:close/>
                  <a:moveTo>
                    <a:pt x="40501" y="11555"/>
                  </a:moveTo>
                  <a:cubicBezTo>
                    <a:pt x="55198" y="10917"/>
                    <a:pt x="67978" y="22408"/>
                    <a:pt x="68617" y="37730"/>
                  </a:cubicBezTo>
                  <a:cubicBezTo>
                    <a:pt x="68617" y="38368"/>
                    <a:pt x="68617" y="38368"/>
                    <a:pt x="68617" y="39007"/>
                  </a:cubicBezTo>
                  <a:cubicBezTo>
                    <a:pt x="69256" y="46029"/>
                    <a:pt x="66700" y="53051"/>
                    <a:pt x="61588" y="58158"/>
                  </a:cubicBezTo>
                  <a:cubicBezTo>
                    <a:pt x="55837" y="64542"/>
                    <a:pt x="52642" y="72842"/>
                    <a:pt x="51364" y="81141"/>
                  </a:cubicBezTo>
                  <a:lnTo>
                    <a:pt x="29000" y="81141"/>
                  </a:lnTo>
                  <a:cubicBezTo>
                    <a:pt x="28361" y="72842"/>
                    <a:pt x="24527" y="64542"/>
                    <a:pt x="18776" y="58158"/>
                  </a:cubicBezTo>
                  <a:cubicBezTo>
                    <a:pt x="13664" y="53051"/>
                    <a:pt x="11747" y="46029"/>
                    <a:pt x="11747" y="39007"/>
                  </a:cubicBezTo>
                  <a:cubicBezTo>
                    <a:pt x="11747" y="24323"/>
                    <a:pt x="23888" y="12194"/>
                    <a:pt x="38585" y="12194"/>
                  </a:cubicBezTo>
                  <a:cubicBezTo>
                    <a:pt x="39862" y="11555"/>
                    <a:pt x="39862" y="11555"/>
                    <a:pt x="40501" y="1155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Graphic 4">
              <a:extLst>
                <a:ext uri="{FF2B5EF4-FFF2-40B4-BE49-F238E27FC236}">
                  <a16:creationId xmlns:a16="http://schemas.microsoft.com/office/drawing/2014/main" xmlns="" id="{1638C15A-5344-3649-A11D-87BEDDC64658}"/>
                </a:ext>
              </a:extLst>
            </p:cNvPr>
            <p:cNvSpPr/>
            <p:nvPr/>
          </p:nvSpPr>
          <p:spPr>
            <a:xfrm>
              <a:off x="1672885" y="3542634"/>
              <a:ext cx="45368" cy="12767"/>
            </a:xfrm>
            <a:custGeom>
              <a:avLst/>
              <a:gdLst>
                <a:gd name="connsiteX0" fmla="*/ 38979 w 45368"/>
                <a:gd name="connsiteY0" fmla="*/ 0 h 12767"/>
                <a:gd name="connsiteX1" fmla="*/ 6390 w 45368"/>
                <a:gd name="connsiteY1" fmla="*/ 0 h 12767"/>
                <a:gd name="connsiteX2" fmla="*/ 0 w 45368"/>
                <a:gd name="connsiteY2" fmla="*/ 6384 h 12767"/>
                <a:gd name="connsiteX3" fmla="*/ 6390 w 45368"/>
                <a:gd name="connsiteY3" fmla="*/ 12768 h 12767"/>
                <a:gd name="connsiteX4" fmla="*/ 38979 w 45368"/>
                <a:gd name="connsiteY4" fmla="*/ 12768 h 12767"/>
                <a:gd name="connsiteX5" fmla="*/ 45369 w 45368"/>
                <a:gd name="connsiteY5" fmla="*/ 6384 h 12767"/>
                <a:gd name="connsiteX6" fmla="*/ 38979 w 45368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368" h="12767">
                  <a:moveTo>
                    <a:pt x="38979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5"/>
                    <a:pt x="2556" y="12768"/>
                    <a:pt x="6390" y="12768"/>
                  </a:cubicBezTo>
                  <a:lnTo>
                    <a:pt x="38979" y="12768"/>
                  </a:lnTo>
                  <a:cubicBezTo>
                    <a:pt x="42813" y="12768"/>
                    <a:pt x="45369" y="10215"/>
                    <a:pt x="45369" y="6384"/>
                  </a:cubicBezTo>
                  <a:cubicBezTo>
                    <a:pt x="45369" y="2554"/>
                    <a:pt x="42813" y="0"/>
                    <a:pt x="38979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Graphic 4">
              <a:extLst>
                <a:ext uri="{FF2B5EF4-FFF2-40B4-BE49-F238E27FC236}">
                  <a16:creationId xmlns:a16="http://schemas.microsoft.com/office/drawing/2014/main" xmlns="" id="{C82FD278-F24E-854C-A568-EFE7EFFE0B75}"/>
                </a:ext>
              </a:extLst>
            </p:cNvPr>
            <p:cNvSpPr/>
            <p:nvPr/>
          </p:nvSpPr>
          <p:spPr>
            <a:xfrm>
              <a:off x="1689499" y="3399633"/>
              <a:ext cx="12779" cy="26812"/>
            </a:xfrm>
            <a:custGeom>
              <a:avLst/>
              <a:gdLst>
                <a:gd name="connsiteX0" fmla="*/ 6390 w 12779"/>
                <a:gd name="connsiteY0" fmla="*/ 26812 h 26812"/>
                <a:gd name="connsiteX1" fmla="*/ 12780 w 12779"/>
                <a:gd name="connsiteY1" fmla="*/ 20428 h 26812"/>
                <a:gd name="connsiteX2" fmla="*/ 12780 w 12779"/>
                <a:gd name="connsiteY2" fmla="*/ 6384 h 26812"/>
                <a:gd name="connsiteX3" fmla="*/ 6390 w 12779"/>
                <a:gd name="connsiteY3" fmla="*/ 0 h 26812"/>
                <a:gd name="connsiteX4" fmla="*/ 0 w 12779"/>
                <a:gd name="connsiteY4" fmla="*/ 6384 h 26812"/>
                <a:gd name="connsiteX5" fmla="*/ 0 w 12779"/>
                <a:gd name="connsiteY5" fmla="*/ 20428 h 26812"/>
                <a:gd name="connsiteX6" fmla="*/ 6390 w 12779"/>
                <a:gd name="connsiteY6" fmla="*/ 26812 h 2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26812">
                  <a:moveTo>
                    <a:pt x="6390" y="26812"/>
                  </a:moveTo>
                  <a:cubicBezTo>
                    <a:pt x="10224" y="26812"/>
                    <a:pt x="12780" y="24259"/>
                    <a:pt x="12780" y="20428"/>
                  </a:cubicBezTo>
                  <a:lnTo>
                    <a:pt x="12780" y="6384"/>
                  </a:lnTo>
                  <a:cubicBezTo>
                    <a:pt x="12780" y="2553"/>
                    <a:pt x="10224" y="0"/>
                    <a:pt x="6390" y="0"/>
                  </a:cubicBezTo>
                  <a:cubicBezTo>
                    <a:pt x="2556" y="0"/>
                    <a:pt x="0" y="2553"/>
                    <a:pt x="0" y="6384"/>
                  </a:cubicBezTo>
                  <a:lnTo>
                    <a:pt x="0" y="20428"/>
                  </a:lnTo>
                  <a:cubicBezTo>
                    <a:pt x="0" y="24259"/>
                    <a:pt x="2556" y="26812"/>
                    <a:pt x="6390" y="2681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Graphic 4">
              <a:extLst>
                <a:ext uri="{FF2B5EF4-FFF2-40B4-BE49-F238E27FC236}">
                  <a16:creationId xmlns:a16="http://schemas.microsoft.com/office/drawing/2014/main" xmlns="" id="{45390ADF-395A-9C4D-A691-ED882D6E5F3C}"/>
                </a:ext>
              </a:extLst>
            </p:cNvPr>
            <p:cNvSpPr/>
            <p:nvPr/>
          </p:nvSpPr>
          <p:spPr>
            <a:xfrm>
              <a:off x="1628994" y="3431752"/>
              <a:ext cx="25999" cy="21505"/>
            </a:xfrm>
            <a:custGeom>
              <a:avLst/>
              <a:gdLst>
                <a:gd name="connsiteX0" fmla="*/ 16414 w 25999"/>
                <a:gd name="connsiteY0" fmla="*/ 20229 h 21505"/>
                <a:gd name="connsiteX1" fmla="*/ 19609 w 25999"/>
                <a:gd name="connsiteY1" fmla="*/ 21506 h 21505"/>
                <a:gd name="connsiteX2" fmla="*/ 25999 w 25999"/>
                <a:gd name="connsiteY2" fmla="*/ 15122 h 21505"/>
                <a:gd name="connsiteX3" fmla="*/ 22804 w 25999"/>
                <a:gd name="connsiteY3" fmla="*/ 9377 h 21505"/>
                <a:gd name="connsiteX4" fmla="*/ 10024 w 25999"/>
                <a:gd name="connsiteY4" fmla="*/ 1077 h 21505"/>
                <a:gd name="connsiteX5" fmla="*/ 1078 w 25999"/>
                <a:gd name="connsiteY5" fmla="*/ 2993 h 21505"/>
                <a:gd name="connsiteX6" fmla="*/ 2995 w 25999"/>
                <a:gd name="connsiteY6" fmla="*/ 11930 h 21505"/>
                <a:gd name="connsiteX7" fmla="*/ 2995 w 25999"/>
                <a:gd name="connsiteY7" fmla="*/ 11930 h 21505"/>
                <a:gd name="connsiteX8" fmla="*/ 16414 w 25999"/>
                <a:gd name="connsiteY8" fmla="*/ 20229 h 2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99" h="21505">
                  <a:moveTo>
                    <a:pt x="16414" y="20229"/>
                  </a:moveTo>
                  <a:cubicBezTo>
                    <a:pt x="17692" y="20868"/>
                    <a:pt x="18970" y="21506"/>
                    <a:pt x="19609" y="21506"/>
                  </a:cubicBezTo>
                  <a:cubicBezTo>
                    <a:pt x="23443" y="21506"/>
                    <a:pt x="25999" y="18953"/>
                    <a:pt x="25999" y="15122"/>
                  </a:cubicBezTo>
                  <a:cubicBezTo>
                    <a:pt x="25999" y="13207"/>
                    <a:pt x="24721" y="10653"/>
                    <a:pt x="22804" y="9377"/>
                  </a:cubicBezTo>
                  <a:lnTo>
                    <a:pt x="10024" y="1077"/>
                  </a:lnTo>
                  <a:cubicBezTo>
                    <a:pt x="6829" y="-838"/>
                    <a:pt x="2995" y="-199"/>
                    <a:pt x="1078" y="2993"/>
                  </a:cubicBezTo>
                  <a:cubicBezTo>
                    <a:pt x="-839" y="6185"/>
                    <a:pt x="-200" y="10015"/>
                    <a:pt x="2995" y="11930"/>
                  </a:cubicBezTo>
                  <a:lnTo>
                    <a:pt x="2995" y="11930"/>
                  </a:lnTo>
                  <a:lnTo>
                    <a:pt x="16414" y="202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xmlns="" id="{5E4E7A93-838B-AE48-9D1E-77DDFDBB64E8}"/>
                </a:ext>
              </a:extLst>
            </p:cNvPr>
            <p:cNvSpPr/>
            <p:nvPr/>
          </p:nvSpPr>
          <p:spPr>
            <a:xfrm>
              <a:off x="1617932" y="3490924"/>
              <a:ext cx="28115" cy="12767"/>
            </a:xfrm>
            <a:custGeom>
              <a:avLst/>
              <a:gdLst>
                <a:gd name="connsiteX0" fmla="*/ 21726 w 28115"/>
                <a:gd name="connsiteY0" fmla="*/ 12768 h 12767"/>
                <a:gd name="connsiteX1" fmla="*/ 28116 w 28115"/>
                <a:gd name="connsiteY1" fmla="*/ 6384 h 12767"/>
                <a:gd name="connsiteX2" fmla="*/ 21726 w 28115"/>
                <a:gd name="connsiteY2" fmla="*/ 0 h 12767"/>
                <a:gd name="connsiteX3" fmla="*/ 6390 w 28115"/>
                <a:gd name="connsiteY3" fmla="*/ 0 h 12767"/>
                <a:gd name="connsiteX4" fmla="*/ 0 w 28115"/>
                <a:gd name="connsiteY4" fmla="*/ 6384 h 12767"/>
                <a:gd name="connsiteX5" fmla="*/ 6390 w 28115"/>
                <a:gd name="connsiteY5" fmla="*/ 12768 h 12767"/>
                <a:gd name="connsiteX6" fmla="*/ 21726 w 28115"/>
                <a:gd name="connsiteY6" fmla="*/ 12768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15" h="12767">
                  <a:moveTo>
                    <a:pt x="21726" y="12768"/>
                  </a:moveTo>
                  <a:cubicBezTo>
                    <a:pt x="25560" y="12768"/>
                    <a:pt x="28116" y="10214"/>
                    <a:pt x="28116" y="6384"/>
                  </a:cubicBezTo>
                  <a:cubicBezTo>
                    <a:pt x="28116" y="2553"/>
                    <a:pt x="25560" y="0"/>
                    <a:pt x="21726" y="0"/>
                  </a:cubicBez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21726" y="1276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xmlns="" id="{4188A1AE-C043-0544-AD10-312BEA288EC3}"/>
                </a:ext>
              </a:extLst>
            </p:cNvPr>
            <p:cNvSpPr/>
            <p:nvPr/>
          </p:nvSpPr>
          <p:spPr>
            <a:xfrm>
              <a:off x="1735706" y="3431752"/>
              <a:ext cx="25799" cy="21505"/>
            </a:xfrm>
            <a:custGeom>
              <a:avLst/>
              <a:gdLst>
                <a:gd name="connsiteX0" fmla="*/ 6829 w 25799"/>
                <a:gd name="connsiteY0" fmla="*/ 21506 h 21505"/>
                <a:gd name="connsiteX1" fmla="*/ 10024 w 25799"/>
                <a:gd name="connsiteY1" fmla="*/ 20229 h 21505"/>
                <a:gd name="connsiteX2" fmla="*/ 22804 w 25799"/>
                <a:gd name="connsiteY2" fmla="*/ 11930 h 21505"/>
                <a:gd name="connsiteX3" fmla="*/ 24721 w 25799"/>
                <a:gd name="connsiteY3" fmla="*/ 2993 h 21505"/>
                <a:gd name="connsiteX4" fmla="*/ 15775 w 25799"/>
                <a:gd name="connsiteY4" fmla="*/ 1077 h 21505"/>
                <a:gd name="connsiteX5" fmla="*/ 2995 w 25799"/>
                <a:gd name="connsiteY5" fmla="*/ 9377 h 21505"/>
                <a:gd name="connsiteX6" fmla="*/ 1078 w 25799"/>
                <a:gd name="connsiteY6" fmla="*/ 18314 h 21505"/>
                <a:gd name="connsiteX7" fmla="*/ 6829 w 25799"/>
                <a:gd name="connsiteY7" fmla="*/ 21506 h 21505"/>
                <a:gd name="connsiteX8" fmla="*/ 6829 w 25799"/>
                <a:gd name="connsiteY8" fmla="*/ 21506 h 2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99" h="21505">
                  <a:moveTo>
                    <a:pt x="6829" y="21506"/>
                  </a:moveTo>
                  <a:cubicBezTo>
                    <a:pt x="8107" y="21506"/>
                    <a:pt x="9385" y="20868"/>
                    <a:pt x="10024" y="20229"/>
                  </a:cubicBezTo>
                  <a:lnTo>
                    <a:pt x="22804" y="11930"/>
                  </a:lnTo>
                  <a:cubicBezTo>
                    <a:pt x="25999" y="10015"/>
                    <a:pt x="26638" y="6185"/>
                    <a:pt x="24721" y="2993"/>
                  </a:cubicBezTo>
                  <a:cubicBezTo>
                    <a:pt x="22804" y="-199"/>
                    <a:pt x="18970" y="-838"/>
                    <a:pt x="15775" y="1077"/>
                  </a:cubicBezTo>
                  <a:lnTo>
                    <a:pt x="2995" y="9377"/>
                  </a:lnTo>
                  <a:cubicBezTo>
                    <a:pt x="-200" y="11292"/>
                    <a:pt x="-839" y="15122"/>
                    <a:pt x="1078" y="18314"/>
                  </a:cubicBezTo>
                  <a:cubicBezTo>
                    <a:pt x="2356" y="20229"/>
                    <a:pt x="4912" y="21506"/>
                    <a:pt x="6829" y="21506"/>
                  </a:cubicBezTo>
                  <a:lnTo>
                    <a:pt x="6829" y="215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xmlns="" id="{F08F1A80-C764-4546-B78F-3A82A15F4051}"/>
                </a:ext>
              </a:extLst>
            </p:cNvPr>
            <p:cNvSpPr/>
            <p:nvPr/>
          </p:nvSpPr>
          <p:spPr>
            <a:xfrm>
              <a:off x="1745091" y="3490924"/>
              <a:ext cx="28115" cy="12767"/>
            </a:xfrm>
            <a:custGeom>
              <a:avLst/>
              <a:gdLst>
                <a:gd name="connsiteX0" fmla="*/ 21726 w 28115"/>
                <a:gd name="connsiteY0" fmla="*/ 0 h 12767"/>
                <a:gd name="connsiteX1" fmla="*/ 6390 w 28115"/>
                <a:gd name="connsiteY1" fmla="*/ 0 h 12767"/>
                <a:gd name="connsiteX2" fmla="*/ 0 w 28115"/>
                <a:gd name="connsiteY2" fmla="*/ 6384 h 12767"/>
                <a:gd name="connsiteX3" fmla="*/ 6390 w 28115"/>
                <a:gd name="connsiteY3" fmla="*/ 12768 h 12767"/>
                <a:gd name="connsiteX4" fmla="*/ 21726 w 28115"/>
                <a:gd name="connsiteY4" fmla="*/ 12768 h 12767"/>
                <a:gd name="connsiteX5" fmla="*/ 28116 w 28115"/>
                <a:gd name="connsiteY5" fmla="*/ 6384 h 12767"/>
                <a:gd name="connsiteX6" fmla="*/ 21726 w 28115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15" h="12767">
                  <a:moveTo>
                    <a:pt x="21726" y="0"/>
                  </a:moveTo>
                  <a:lnTo>
                    <a:pt x="6390" y="0"/>
                  </a:lnTo>
                  <a:cubicBezTo>
                    <a:pt x="2556" y="0"/>
                    <a:pt x="0" y="2553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21726" y="12768"/>
                  </a:lnTo>
                  <a:cubicBezTo>
                    <a:pt x="25560" y="12768"/>
                    <a:pt x="28116" y="10214"/>
                    <a:pt x="28116" y="6384"/>
                  </a:cubicBezTo>
                  <a:cubicBezTo>
                    <a:pt x="28116" y="2553"/>
                    <a:pt x="25560" y="0"/>
                    <a:pt x="21726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4">
              <a:extLst>
                <a:ext uri="{FF2B5EF4-FFF2-40B4-BE49-F238E27FC236}">
                  <a16:creationId xmlns:a16="http://schemas.microsoft.com/office/drawing/2014/main" xmlns="" id="{7F6B8D3C-843C-1842-B171-7D16021F959A}"/>
                </a:ext>
              </a:extLst>
            </p:cNvPr>
            <p:cNvSpPr/>
            <p:nvPr/>
          </p:nvSpPr>
          <p:spPr>
            <a:xfrm>
              <a:off x="1620488" y="3563701"/>
              <a:ext cx="150802" cy="77884"/>
            </a:xfrm>
            <a:custGeom>
              <a:avLst/>
              <a:gdLst>
                <a:gd name="connsiteX0" fmla="*/ 94571 w 150802"/>
                <a:gd name="connsiteY0" fmla="*/ 0 h 77884"/>
                <a:gd name="connsiteX1" fmla="*/ 56231 w 150802"/>
                <a:gd name="connsiteY1" fmla="*/ 0 h 77884"/>
                <a:gd name="connsiteX2" fmla="*/ 0 w 150802"/>
                <a:gd name="connsiteY2" fmla="*/ 60010 h 77884"/>
                <a:gd name="connsiteX3" fmla="*/ 0 w 150802"/>
                <a:gd name="connsiteY3" fmla="*/ 71501 h 77884"/>
                <a:gd name="connsiteX4" fmla="*/ 6390 w 150802"/>
                <a:gd name="connsiteY4" fmla="*/ 77885 h 77884"/>
                <a:gd name="connsiteX5" fmla="*/ 12780 w 150802"/>
                <a:gd name="connsiteY5" fmla="*/ 71501 h 77884"/>
                <a:gd name="connsiteX6" fmla="*/ 12780 w 150802"/>
                <a:gd name="connsiteY6" fmla="*/ 60010 h 77884"/>
                <a:gd name="connsiteX7" fmla="*/ 56231 w 150802"/>
                <a:gd name="connsiteY7" fmla="*/ 12768 h 77884"/>
                <a:gd name="connsiteX8" fmla="*/ 94571 w 150802"/>
                <a:gd name="connsiteY8" fmla="*/ 12768 h 77884"/>
                <a:gd name="connsiteX9" fmla="*/ 138023 w 150802"/>
                <a:gd name="connsiteY9" fmla="*/ 60010 h 77884"/>
                <a:gd name="connsiteX10" fmla="*/ 138023 w 150802"/>
                <a:gd name="connsiteY10" fmla="*/ 71501 h 77884"/>
                <a:gd name="connsiteX11" fmla="*/ 144413 w 150802"/>
                <a:gd name="connsiteY11" fmla="*/ 77885 h 77884"/>
                <a:gd name="connsiteX12" fmla="*/ 150803 w 150802"/>
                <a:gd name="connsiteY12" fmla="*/ 71501 h 77884"/>
                <a:gd name="connsiteX13" fmla="*/ 150803 w 150802"/>
                <a:gd name="connsiteY13" fmla="*/ 60010 h 77884"/>
                <a:gd name="connsiteX14" fmla="*/ 94571 w 150802"/>
                <a:gd name="connsiteY14" fmla="*/ 0 h 7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802" h="77884">
                  <a:moveTo>
                    <a:pt x="94571" y="0"/>
                  </a:moveTo>
                  <a:lnTo>
                    <a:pt x="56231" y="0"/>
                  </a:lnTo>
                  <a:cubicBezTo>
                    <a:pt x="24921" y="0"/>
                    <a:pt x="0" y="26813"/>
                    <a:pt x="0" y="60010"/>
                  </a:cubicBezTo>
                  <a:lnTo>
                    <a:pt x="0" y="71501"/>
                  </a:lnTo>
                  <a:cubicBezTo>
                    <a:pt x="0" y="75331"/>
                    <a:pt x="2556" y="77885"/>
                    <a:pt x="6390" y="77885"/>
                  </a:cubicBezTo>
                  <a:cubicBezTo>
                    <a:pt x="10224" y="77885"/>
                    <a:pt x="12780" y="75331"/>
                    <a:pt x="12780" y="71501"/>
                  </a:cubicBezTo>
                  <a:lnTo>
                    <a:pt x="12780" y="60010"/>
                  </a:lnTo>
                  <a:cubicBezTo>
                    <a:pt x="12780" y="33835"/>
                    <a:pt x="31950" y="12768"/>
                    <a:pt x="56231" y="12768"/>
                  </a:cubicBezTo>
                  <a:lnTo>
                    <a:pt x="94571" y="12768"/>
                  </a:lnTo>
                  <a:cubicBezTo>
                    <a:pt x="118853" y="12768"/>
                    <a:pt x="138023" y="33835"/>
                    <a:pt x="138023" y="60010"/>
                  </a:cubicBezTo>
                  <a:lnTo>
                    <a:pt x="138023" y="71501"/>
                  </a:lnTo>
                  <a:cubicBezTo>
                    <a:pt x="138023" y="75331"/>
                    <a:pt x="140579" y="77885"/>
                    <a:pt x="144413" y="77885"/>
                  </a:cubicBezTo>
                  <a:cubicBezTo>
                    <a:pt x="148246" y="77885"/>
                    <a:pt x="150803" y="75331"/>
                    <a:pt x="150803" y="71501"/>
                  </a:cubicBezTo>
                  <a:lnTo>
                    <a:pt x="150803" y="60010"/>
                  </a:lnTo>
                  <a:cubicBezTo>
                    <a:pt x="150803" y="26813"/>
                    <a:pt x="125243" y="0"/>
                    <a:pt x="94571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9" name="Graphic 4">
            <a:extLst>
              <a:ext uri="{FF2B5EF4-FFF2-40B4-BE49-F238E27FC236}">
                <a16:creationId xmlns:a16="http://schemas.microsoft.com/office/drawing/2014/main" xmlns="" id="{26E0C639-38AE-DE4F-847C-0A4451A69740}"/>
              </a:ext>
            </a:extLst>
          </p:cNvPr>
          <p:cNvGrpSpPr/>
          <p:nvPr/>
        </p:nvGrpSpPr>
        <p:grpSpPr>
          <a:xfrm>
            <a:off x="6252283" y="5094610"/>
            <a:ext cx="540000" cy="540000"/>
            <a:chOff x="467104" y="3824168"/>
            <a:chExt cx="362309" cy="361971"/>
          </a:xfrm>
          <a:solidFill>
            <a:schemeClr val="accent1"/>
          </a:solidFill>
        </p:grpSpPr>
        <p:sp>
          <p:nvSpPr>
            <p:cNvPr id="30" name="Graphic 4">
              <a:extLst>
                <a:ext uri="{FF2B5EF4-FFF2-40B4-BE49-F238E27FC236}">
                  <a16:creationId xmlns:a16="http://schemas.microsoft.com/office/drawing/2014/main" xmlns="" id="{98E577F5-ACA9-F745-9B32-42936043CA14}"/>
                </a:ext>
              </a:extLst>
            </p:cNvPr>
            <p:cNvSpPr/>
            <p:nvPr/>
          </p:nvSpPr>
          <p:spPr>
            <a:xfrm>
              <a:off x="467104" y="3824168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1474 w 362309"/>
                <a:gd name="connsiteY2" fmla="*/ 361971 h 361971"/>
                <a:gd name="connsiteX3" fmla="*/ 362309 w 362309"/>
                <a:gd name="connsiteY3" fmla="*/ 180667 h 361971"/>
                <a:gd name="connsiteX4" fmla="*/ 362309 w 362309"/>
                <a:gd name="connsiteY4" fmla="*/ 180667 h 361971"/>
                <a:gd name="connsiteX5" fmla="*/ 181474 w 362309"/>
                <a:gd name="connsiteY5" fmla="*/ 0 h 361971"/>
                <a:gd name="connsiteX6" fmla="*/ 181474 w 362309"/>
                <a:gd name="connsiteY6" fmla="*/ 349204 h 361971"/>
                <a:gd name="connsiteX7" fmla="*/ 13419 w 362309"/>
                <a:gd name="connsiteY7" fmla="*/ 181305 h 361971"/>
                <a:gd name="connsiteX8" fmla="*/ 181474 w 362309"/>
                <a:gd name="connsiteY8" fmla="*/ 12768 h 361971"/>
                <a:gd name="connsiteX9" fmla="*/ 349530 w 362309"/>
                <a:gd name="connsiteY9" fmla="*/ 181305 h 361971"/>
                <a:gd name="connsiteX10" fmla="*/ 349530 w 362309"/>
                <a:gd name="connsiteY10" fmla="*/ 181305 h 361971"/>
                <a:gd name="connsiteX11" fmla="*/ 181474 w 362309"/>
                <a:gd name="connsiteY11" fmla="*/ 349204 h 361971"/>
                <a:gd name="connsiteX12" fmla="*/ 181474 w 362309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895"/>
                    <a:pt x="81152" y="361971"/>
                    <a:pt x="181474" y="361971"/>
                  </a:cubicBezTo>
                  <a:cubicBezTo>
                    <a:pt x="281796" y="361971"/>
                    <a:pt x="362309" y="280895"/>
                    <a:pt x="362309" y="180667"/>
                  </a:cubicBezTo>
                  <a:lnTo>
                    <a:pt x="362309" y="180667"/>
                  </a:lnTo>
                  <a:cubicBezTo>
                    <a:pt x="362309" y="81076"/>
                    <a:pt x="281157" y="0"/>
                    <a:pt x="181474" y="0"/>
                  </a:cubicBezTo>
                  <a:close/>
                  <a:moveTo>
                    <a:pt x="181474" y="349204"/>
                  </a:moveTo>
                  <a:cubicBezTo>
                    <a:pt x="88181" y="349204"/>
                    <a:pt x="13419" y="273873"/>
                    <a:pt x="13419" y="181305"/>
                  </a:cubicBezTo>
                  <a:cubicBezTo>
                    <a:pt x="13419" y="88099"/>
                    <a:pt x="88820" y="12768"/>
                    <a:pt x="181474" y="12768"/>
                  </a:cubicBezTo>
                  <a:cubicBezTo>
                    <a:pt x="274128" y="12768"/>
                    <a:pt x="349530" y="88099"/>
                    <a:pt x="349530" y="181305"/>
                  </a:cubicBezTo>
                  <a:lnTo>
                    <a:pt x="349530" y="181305"/>
                  </a:lnTo>
                  <a:cubicBezTo>
                    <a:pt x="349530" y="273873"/>
                    <a:pt x="274128" y="349204"/>
                    <a:pt x="181474" y="349204"/>
                  </a:cubicBezTo>
                  <a:lnTo>
                    <a:pt x="181474" y="3492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xmlns="" id="{338EA86D-B237-3141-89FE-E10390801EA1}"/>
                </a:ext>
              </a:extLst>
            </p:cNvPr>
            <p:cNvSpPr/>
            <p:nvPr/>
          </p:nvSpPr>
          <p:spPr>
            <a:xfrm>
              <a:off x="542505" y="3902033"/>
              <a:ext cx="74780" cy="99608"/>
            </a:xfrm>
            <a:custGeom>
              <a:avLst/>
              <a:gdLst>
                <a:gd name="connsiteX0" fmla="*/ 37701 w 74780"/>
                <a:gd name="connsiteY0" fmla="*/ 99609 h 99608"/>
                <a:gd name="connsiteX1" fmla="*/ 42174 w 74780"/>
                <a:gd name="connsiteY1" fmla="*/ 97694 h 99608"/>
                <a:gd name="connsiteX2" fmla="*/ 74762 w 74780"/>
                <a:gd name="connsiteY2" fmla="*/ 38961 h 99608"/>
                <a:gd name="connsiteX3" fmla="*/ 38979 w 74780"/>
                <a:gd name="connsiteY3" fmla="*/ 18 h 99608"/>
                <a:gd name="connsiteX4" fmla="*/ 0 w 74780"/>
                <a:gd name="connsiteY4" fmla="*/ 35769 h 99608"/>
                <a:gd name="connsiteX5" fmla="*/ 0 w 74780"/>
                <a:gd name="connsiteY5" fmla="*/ 38961 h 99608"/>
                <a:gd name="connsiteX6" fmla="*/ 32589 w 74780"/>
                <a:gd name="connsiteY6" fmla="*/ 97694 h 99608"/>
                <a:gd name="connsiteX7" fmla="*/ 37701 w 74780"/>
                <a:gd name="connsiteY7" fmla="*/ 99609 h 99608"/>
                <a:gd name="connsiteX8" fmla="*/ 37701 w 74780"/>
                <a:gd name="connsiteY8" fmla="*/ 14063 h 99608"/>
                <a:gd name="connsiteX9" fmla="*/ 61982 w 74780"/>
                <a:gd name="connsiteY9" fmla="*/ 38322 h 99608"/>
                <a:gd name="connsiteX10" fmla="*/ 37701 w 74780"/>
                <a:gd name="connsiteY10" fmla="*/ 83010 h 99608"/>
                <a:gd name="connsiteX11" fmla="*/ 13419 w 74780"/>
                <a:gd name="connsiteY11" fmla="*/ 38322 h 99608"/>
                <a:gd name="connsiteX12" fmla="*/ 37701 w 74780"/>
                <a:gd name="connsiteY12" fmla="*/ 14063 h 99608"/>
                <a:gd name="connsiteX13" fmla="*/ 37701 w 74780"/>
                <a:gd name="connsiteY13" fmla="*/ 14063 h 9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4780" h="99608">
                  <a:moveTo>
                    <a:pt x="37701" y="99609"/>
                  </a:moveTo>
                  <a:cubicBezTo>
                    <a:pt x="39618" y="99609"/>
                    <a:pt x="40896" y="98970"/>
                    <a:pt x="42174" y="97694"/>
                  </a:cubicBezTo>
                  <a:cubicBezTo>
                    <a:pt x="74762" y="65135"/>
                    <a:pt x="74762" y="40238"/>
                    <a:pt x="74762" y="38961"/>
                  </a:cubicBezTo>
                  <a:cubicBezTo>
                    <a:pt x="75401" y="18532"/>
                    <a:pt x="59426" y="657"/>
                    <a:pt x="38979" y="18"/>
                  </a:cubicBezTo>
                  <a:cubicBezTo>
                    <a:pt x="18531" y="-620"/>
                    <a:pt x="639" y="15340"/>
                    <a:pt x="0" y="35769"/>
                  </a:cubicBezTo>
                  <a:cubicBezTo>
                    <a:pt x="0" y="37046"/>
                    <a:pt x="0" y="37684"/>
                    <a:pt x="0" y="38961"/>
                  </a:cubicBezTo>
                  <a:cubicBezTo>
                    <a:pt x="0" y="40238"/>
                    <a:pt x="0" y="65135"/>
                    <a:pt x="32589" y="97694"/>
                  </a:cubicBezTo>
                  <a:cubicBezTo>
                    <a:pt x="34506" y="98970"/>
                    <a:pt x="36423" y="99609"/>
                    <a:pt x="37701" y="99609"/>
                  </a:cubicBezTo>
                  <a:close/>
                  <a:moveTo>
                    <a:pt x="37701" y="14063"/>
                  </a:moveTo>
                  <a:cubicBezTo>
                    <a:pt x="51119" y="14063"/>
                    <a:pt x="61982" y="24916"/>
                    <a:pt x="61982" y="38322"/>
                  </a:cubicBezTo>
                  <a:cubicBezTo>
                    <a:pt x="61982" y="38322"/>
                    <a:pt x="61343" y="57474"/>
                    <a:pt x="37701" y="83010"/>
                  </a:cubicBezTo>
                  <a:cubicBezTo>
                    <a:pt x="13419" y="56836"/>
                    <a:pt x="13419" y="38322"/>
                    <a:pt x="13419" y="38322"/>
                  </a:cubicBezTo>
                  <a:cubicBezTo>
                    <a:pt x="13419" y="25554"/>
                    <a:pt x="24282" y="14063"/>
                    <a:pt x="37701" y="14063"/>
                  </a:cubicBezTo>
                  <a:lnTo>
                    <a:pt x="37701" y="140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xmlns="" id="{D04B2BE8-CDDD-AB4A-85E9-8329D2DF138D}"/>
                </a:ext>
              </a:extLst>
            </p:cNvPr>
            <p:cNvSpPr/>
            <p:nvPr/>
          </p:nvSpPr>
          <p:spPr>
            <a:xfrm>
              <a:off x="569982" y="3930780"/>
              <a:ext cx="20447" cy="20428"/>
            </a:xfrm>
            <a:custGeom>
              <a:avLst/>
              <a:gdLst>
                <a:gd name="connsiteX0" fmla="*/ 10224 w 20447"/>
                <a:gd name="connsiteY0" fmla="*/ 20429 h 20428"/>
                <a:gd name="connsiteX1" fmla="*/ 20448 w 20447"/>
                <a:gd name="connsiteY1" fmla="*/ 10215 h 20428"/>
                <a:gd name="connsiteX2" fmla="*/ 10224 w 20447"/>
                <a:gd name="connsiteY2" fmla="*/ 0 h 20428"/>
                <a:gd name="connsiteX3" fmla="*/ 0 w 20447"/>
                <a:gd name="connsiteY3" fmla="*/ 10215 h 20428"/>
                <a:gd name="connsiteX4" fmla="*/ 10224 w 20447"/>
                <a:gd name="connsiteY4" fmla="*/ 20429 h 20428"/>
                <a:gd name="connsiteX5" fmla="*/ 10224 w 20447"/>
                <a:gd name="connsiteY5" fmla="*/ 20429 h 2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7" h="20428">
                  <a:moveTo>
                    <a:pt x="10224" y="20429"/>
                  </a:moveTo>
                  <a:cubicBezTo>
                    <a:pt x="15975" y="20429"/>
                    <a:pt x="20448" y="15960"/>
                    <a:pt x="20448" y="10215"/>
                  </a:cubicBezTo>
                  <a:cubicBezTo>
                    <a:pt x="20448" y="4469"/>
                    <a:pt x="15975" y="0"/>
                    <a:pt x="10224" y="0"/>
                  </a:cubicBezTo>
                  <a:cubicBezTo>
                    <a:pt x="4473" y="0"/>
                    <a:pt x="0" y="4469"/>
                    <a:pt x="0" y="10215"/>
                  </a:cubicBezTo>
                  <a:cubicBezTo>
                    <a:pt x="0" y="15960"/>
                    <a:pt x="5112" y="20429"/>
                    <a:pt x="10224" y="20429"/>
                  </a:cubicBezTo>
                  <a:cubicBezTo>
                    <a:pt x="10224" y="20429"/>
                    <a:pt x="10224" y="20429"/>
                    <a:pt x="10224" y="2042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xmlns="" id="{5D6498F2-FEAD-884D-BEB8-E4E11098CF3C}"/>
                </a:ext>
              </a:extLst>
            </p:cNvPr>
            <p:cNvSpPr/>
            <p:nvPr/>
          </p:nvSpPr>
          <p:spPr>
            <a:xfrm>
              <a:off x="571162" y="3923758"/>
              <a:ext cx="183215" cy="182947"/>
            </a:xfrm>
            <a:custGeom>
              <a:avLst/>
              <a:gdLst>
                <a:gd name="connsiteX0" fmla="*/ 91474 w 183215"/>
                <a:gd name="connsiteY0" fmla="*/ 0 h 182947"/>
                <a:gd name="connsiteX1" fmla="*/ 66553 w 183215"/>
                <a:gd name="connsiteY1" fmla="*/ 3192 h 182947"/>
                <a:gd name="connsiteX2" fmla="*/ 62719 w 183215"/>
                <a:gd name="connsiteY2" fmla="*/ 11491 h 182947"/>
                <a:gd name="connsiteX3" fmla="*/ 69109 w 183215"/>
                <a:gd name="connsiteY3" fmla="*/ 15322 h 182947"/>
                <a:gd name="connsiteX4" fmla="*/ 56329 w 183215"/>
                <a:gd name="connsiteY4" fmla="*/ 53626 h 182947"/>
                <a:gd name="connsiteX5" fmla="*/ 52495 w 183215"/>
                <a:gd name="connsiteY5" fmla="*/ 53626 h 182947"/>
                <a:gd name="connsiteX6" fmla="*/ 46105 w 183215"/>
                <a:gd name="connsiteY6" fmla="*/ 60010 h 182947"/>
                <a:gd name="connsiteX7" fmla="*/ 52495 w 183215"/>
                <a:gd name="connsiteY7" fmla="*/ 66394 h 182947"/>
                <a:gd name="connsiteX8" fmla="*/ 54412 w 183215"/>
                <a:gd name="connsiteY8" fmla="*/ 66394 h 182947"/>
                <a:gd name="connsiteX9" fmla="*/ 54412 w 183215"/>
                <a:gd name="connsiteY9" fmla="*/ 115550 h 182947"/>
                <a:gd name="connsiteX10" fmla="*/ 16712 w 183215"/>
                <a:gd name="connsiteY10" fmla="*/ 115550 h 182947"/>
                <a:gd name="connsiteX11" fmla="*/ 12878 w 183215"/>
                <a:gd name="connsiteY11" fmla="*/ 98313 h 182947"/>
                <a:gd name="connsiteX12" fmla="*/ 5849 w 183215"/>
                <a:gd name="connsiteY12" fmla="*/ 92568 h 182947"/>
                <a:gd name="connsiteX13" fmla="*/ 98 w 183215"/>
                <a:gd name="connsiteY13" fmla="*/ 99590 h 182947"/>
                <a:gd name="connsiteX14" fmla="*/ 99781 w 183215"/>
                <a:gd name="connsiteY14" fmla="*/ 182582 h 182947"/>
                <a:gd name="connsiteX15" fmla="*/ 182850 w 183215"/>
                <a:gd name="connsiteY15" fmla="*/ 82992 h 182947"/>
                <a:gd name="connsiteX16" fmla="*/ 91474 w 183215"/>
                <a:gd name="connsiteY16" fmla="*/ 0 h 182947"/>
                <a:gd name="connsiteX17" fmla="*/ 160485 w 183215"/>
                <a:gd name="connsiteY17" fmla="*/ 54264 h 182947"/>
                <a:gd name="connsiteX18" fmla="*/ 125980 w 183215"/>
                <a:gd name="connsiteY18" fmla="*/ 54264 h 182947"/>
                <a:gd name="connsiteX19" fmla="*/ 113200 w 183215"/>
                <a:gd name="connsiteY19" fmla="*/ 15960 h 182947"/>
                <a:gd name="connsiteX20" fmla="*/ 160485 w 183215"/>
                <a:gd name="connsiteY20" fmla="*/ 54264 h 182947"/>
                <a:gd name="connsiteX21" fmla="*/ 160485 w 183215"/>
                <a:gd name="connsiteY21" fmla="*/ 54264 h 182947"/>
                <a:gd name="connsiteX22" fmla="*/ 166236 w 183215"/>
                <a:gd name="connsiteY22" fmla="*/ 116189 h 182947"/>
                <a:gd name="connsiteX23" fmla="*/ 128536 w 183215"/>
                <a:gd name="connsiteY23" fmla="*/ 116189 h 182947"/>
                <a:gd name="connsiteX24" fmla="*/ 128536 w 183215"/>
                <a:gd name="connsiteY24" fmla="*/ 67032 h 182947"/>
                <a:gd name="connsiteX25" fmla="*/ 166236 w 183215"/>
                <a:gd name="connsiteY25" fmla="*/ 67032 h 182947"/>
                <a:gd name="connsiteX26" fmla="*/ 166236 w 183215"/>
                <a:gd name="connsiteY26" fmla="*/ 116189 h 182947"/>
                <a:gd name="connsiteX27" fmla="*/ 91474 w 183215"/>
                <a:gd name="connsiteY27" fmla="*/ 12768 h 182947"/>
                <a:gd name="connsiteX28" fmla="*/ 113839 w 183215"/>
                <a:gd name="connsiteY28" fmla="*/ 54264 h 182947"/>
                <a:gd name="connsiteX29" fmla="*/ 69109 w 183215"/>
                <a:gd name="connsiteY29" fmla="*/ 54264 h 182947"/>
                <a:gd name="connsiteX30" fmla="*/ 91474 w 183215"/>
                <a:gd name="connsiteY30" fmla="*/ 12768 h 182947"/>
                <a:gd name="connsiteX31" fmla="*/ 65914 w 183215"/>
                <a:gd name="connsiteY31" fmla="*/ 91291 h 182947"/>
                <a:gd name="connsiteX32" fmla="*/ 67192 w 183215"/>
                <a:gd name="connsiteY32" fmla="*/ 67032 h 182947"/>
                <a:gd name="connsiteX33" fmla="*/ 115756 w 183215"/>
                <a:gd name="connsiteY33" fmla="*/ 67032 h 182947"/>
                <a:gd name="connsiteX34" fmla="*/ 115756 w 183215"/>
                <a:gd name="connsiteY34" fmla="*/ 116189 h 182947"/>
                <a:gd name="connsiteX35" fmla="*/ 67192 w 183215"/>
                <a:gd name="connsiteY35" fmla="*/ 116189 h 182947"/>
                <a:gd name="connsiteX36" fmla="*/ 65914 w 183215"/>
                <a:gd name="connsiteY36" fmla="*/ 91291 h 182947"/>
                <a:gd name="connsiteX37" fmla="*/ 65914 w 183215"/>
                <a:gd name="connsiteY37" fmla="*/ 91291 h 182947"/>
                <a:gd name="connsiteX38" fmla="*/ 91474 w 183215"/>
                <a:gd name="connsiteY38" fmla="*/ 170452 h 182947"/>
                <a:gd name="connsiteX39" fmla="*/ 69109 w 183215"/>
                <a:gd name="connsiteY39" fmla="*/ 128957 h 182947"/>
                <a:gd name="connsiteX40" fmla="*/ 113839 w 183215"/>
                <a:gd name="connsiteY40" fmla="*/ 128957 h 182947"/>
                <a:gd name="connsiteX41" fmla="*/ 91474 w 183215"/>
                <a:gd name="connsiteY41" fmla="*/ 170452 h 182947"/>
                <a:gd name="connsiteX42" fmla="*/ 91474 w 183215"/>
                <a:gd name="connsiteY42" fmla="*/ 170452 h 182947"/>
                <a:gd name="connsiteX43" fmla="*/ 21824 w 183215"/>
                <a:gd name="connsiteY43" fmla="*/ 128957 h 182947"/>
                <a:gd name="connsiteX44" fmla="*/ 56329 w 183215"/>
                <a:gd name="connsiteY44" fmla="*/ 128957 h 182947"/>
                <a:gd name="connsiteX45" fmla="*/ 69109 w 183215"/>
                <a:gd name="connsiteY45" fmla="*/ 167260 h 182947"/>
                <a:gd name="connsiteX46" fmla="*/ 21824 w 183215"/>
                <a:gd name="connsiteY46" fmla="*/ 128957 h 182947"/>
                <a:gd name="connsiteX47" fmla="*/ 113839 w 183215"/>
                <a:gd name="connsiteY47" fmla="*/ 167260 h 182947"/>
                <a:gd name="connsiteX48" fmla="*/ 126619 w 183215"/>
                <a:gd name="connsiteY48" fmla="*/ 128957 h 182947"/>
                <a:gd name="connsiteX49" fmla="*/ 161124 w 183215"/>
                <a:gd name="connsiteY49" fmla="*/ 128957 h 182947"/>
                <a:gd name="connsiteX50" fmla="*/ 113839 w 183215"/>
                <a:gd name="connsiteY50" fmla="*/ 167260 h 182947"/>
                <a:gd name="connsiteX51" fmla="*/ 113839 w 183215"/>
                <a:gd name="connsiteY51" fmla="*/ 167260 h 18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3215" h="182947">
                  <a:moveTo>
                    <a:pt x="91474" y="0"/>
                  </a:moveTo>
                  <a:cubicBezTo>
                    <a:pt x="83167" y="0"/>
                    <a:pt x="74860" y="1277"/>
                    <a:pt x="66553" y="3192"/>
                  </a:cubicBezTo>
                  <a:cubicBezTo>
                    <a:pt x="63358" y="4469"/>
                    <a:pt x="61441" y="8299"/>
                    <a:pt x="62719" y="11491"/>
                  </a:cubicBezTo>
                  <a:cubicBezTo>
                    <a:pt x="63997" y="14045"/>
                    <a:pt x="66553" y="15960"/>
                    <a:pt x="69109" y="15322"/>
                  </a:cubicBezTo>
                  <a:cubicBezTo>
                    <a:pt x="62719" y="27451"/>
                    <a:pt x="58246" y="40219"/>
                    <a:pt x="56329" y="53626"/>
                  </a:cubicBezTo>
                  <a:lnTo>
                    <a:pt x="52495" y="53626"/>
                  </a:lnTo>
                  <a:cubicBezTo>
                    <a:pt x="48661" y="53626"/>
                    <a:pt x="46105" y="56179"/>
                    <a:pt x="46105" y="60010"/>
                  </a:cubicBezTo>
                  <a:cubicBezTo>
                    <a:pt x="46105" y="63840"/>
                    <a:pt x="48661" y="66394"/>
                    <a:pt x="52495" y="66394"/>
                  </a:cubicBezTo>
                  <a:lnTo>
                    <a:pt x="54412" y="66394"/>
                  </a:lnTo>
                  <a:cubicBezTo>
                    <a:pt x="52495" y="82992"/>
                    <a:pt x="52495" y="98952"/>
                    <a:pt x="54412" y="115550"/>
                  </a:cubicBezTo>
                  <a:lnTo>
                    <a:pt x="16712" y="115550"/>
                  </a:lnTo>
                  <a:cubicBezTo>
                    <a:pt x="14795" y="109805"/>
                    <a:pt x="13517" y="104059"/>
                    <a:pt x="12878" y="98313"/>
                  </a:cubicBezTo>
                  <a:cubicBezTo>
                    <a:pt x="12878" y="94483"/>
                    <a:pt x="9683" y="91930"/>
                    <a:pt x="5849" y="92568"/>
                  </a:cubicBezTo>
                  <a:cubicBezTo>
                    <a:pt x="2015" y="92568"/>
                    <a:pt x="-541" y="95760"/>
                    <a:pt x="98" y="99590"/>
                  </a:cubicBezTo>
                  <a:cubicBezTo>
                    <a:pt x="4571" y="150024"/>
                    <a:pt x="49300" y="187051"/>
                    <a:pt x="99781" y="182582"/>
                  </a:cubicBezTo>
                  <a:cubicBezTo>
                    <a:pt x="150261" y="178113"/>
                    <a:pt x="187323" y="133425"/>
                    <a:pt x="182850" y="82992"/>
                  </a:cubicBezTo>
                  <a:cubicBezTo>
                    <a:pt x="178377" y="35750"/>
                    <a:pt x="138759" y="0"/>
                    <a:pt x="91474" y="0"/>
                  </a:cubicBezTo>
                  <a:close/>
                  <a:moveTo>
                    <a:pt x="160485" y="54264"/>
                  </a:moveTo>
                  <a:lnTo>
                    <a:pt x="125980" y="54264"/>
                  </a:lnTo>
                  <a:cubicBezTo>
                    <a:pt x="124063" y="40858"/>
                    <a:pt x="119590" y="28090"/>
                    <a:pt x="113200" y="15960"/>
                  </a:cubicBezTo>
                  <a:cubicBezTo>
                    <a:pt x="133648" y="21706"/>
                    <a:pt x="150900" y="35750"/>
                    <a:pt x="160485" y="54264"/>
                  </a:cubicBezTo>
                  <a:lnTo>
                    <a:pt x="160485" y="54264"/>
                  </a:lnTo>
                  <a:close/>
                  <a:moveTo>
                    <a:pt x="166236" y="116189"/>
                  </a:moveTo>
                  <a:lnTo>
                    <a:pt x="128536" y="116189"/>
                  </a:lnTo>
                  <a:cubicBezTo>
                    <a:pt x="130453" y="99590"/>
                    <a:pt x="130453" y="83630"/>
                    <a:pt x="128536" y="67032"/>
                  </a:cubicBezTo>
                  <a:lnTo>
                    <a:pt x="166236" y="67032"/>
                  </a:lnTo>
                  <a:cubicBezTo>
                    <a:pt x="171348" y="82992"/>
                    <a:pt x="171348" y="100229"/>
                    <a:pt x="166236" y="116189"/>
                  </a:cubicBezTo>
                  <a:close/>
                  <a:moveTo>
                    <a:pt x="91474" y="12768"/>
                  </a:moveTo>
                  <a:cubicBezTo>
                    <a:pt x="99142" y="12768"/>
                    <a:pt x="108727" y="28090"/>
                    <a:pt x="113839" y="54264"/>
                  </a:cubicBezTo>
                  <a:lnTo>
                    <a:pt x="69109" y="54264"/>
                  </a:lnTo>
                  <a:cubicBezTo>
                    <a:pt x="74221" y="28090"/>
                    <a:pt x="83806" y="12768"/>
                    <a:pt x="91474" y="12768"/>
                  </a:cubicBezTo>
                  <a:close/>
                  <a:moveTo>
                    <a:pt x="65914" y="91291"/>
                  </a:moveTo>
                  <a:cubicBezTo>
                    <a:pt x="65914" y="82992"/>
                    <a:pt x="66553" y="74693"/>
                    <a:pt x="67192" y="67032"/>
                  </a:cubicBezTo>
                  <a:lnTo>
                    <a:pt x="115756" y="67032"/>
                  </a:lnTo>
                  <a:cubicBezTo>
                    <a:pt x="117673" y="83630"/>
                    <a:pt x="117673" y="99590"/>
                    <a:pt x="115756" y="116189"/>
                  </a:cubicBezTo>
                  <a:lnTo>
                    <a:pt x="67192" y="116189"/>
                  </a:lnTo>
                  <a:cubicBezTo>
                    <a:pt x="65914" y="107889"/>
                    <a:pt x="65914" y="99590"/>
                    <a:pt x="65914" y="91291"/>
                  </a:cubicBezTo>
                  <a:lnTo>
                    <a:pt x="65914" y="91291"/>
                  </a:lnTo>
                  <a:close/>
                  <a:moveTo>
                    <a:pt x="91474" y="170452"/>
                  </a:moveTo>
                  <a:cubicBezTo>
                    <a:pt x="83806" y="170452"/>
                    <a:pt x="74221" y="155131"/>
                    <a:pt x="69109" y="128957"/>
                  </a:cubicBezTo>
                  <a:lnTo>
                    <a:pt x="113839" y="128957"/>
                  </a:lnTo>
                  <a:cubicBezTo>
                    <a:pt x="108727" y="155131"/>
                    <a:pt x="98503" y="170452"/>
                    <a:pt x="91474" y="170452"/>
                  </a:cubicBezTo>
                  <a:lnTo>
                    <a:pt x="91474" y="170452"/>
                  </a:lnTo>
                  <a:close/>
                  <a:moveTo>
                    <a:pt x="21824" y="128957"/>
                  </a:moveTo>
                  <a:lnTo>
                    <a:pt x="56329" y="128957"/>
                  </a:lnTo>
                  <a:cubicBezTo>
                    <a:pt x="58246" y="142363"/>
                    <a:pt x="62719" y="155131"/>
                    <a:pt x="69109" y="167260"/>
                  </a:cubicBezTo>
                  <a:cubicBezTo>
                    <a:pt x="48661" y="161515"/>
                    <a:pt x="31409" y="147470"/>
                    <a:pt x="21824" y="128957"/>
                  </a:cubicBezTo>
                  <a:close/>
                  <a:moveTo>
                    <a:pt x="113839" y="167260"/>
                  </a:moveTo>
                  <a:cubicBezTo>
                    <a:pt x="120229" y="155131"/>
                    <a:pt x="124702" y="142363"/>
                    <a:pt x="126619" y="128957"/>
                  </a:cubicBezTo>
                  <a:lnTo>
                    <a:pt x="161124" y="128957"/>
                  </a:lnTo>
                  <a:cubicBezTo>
                    <a:pt x="150261" y="147470"/>
                    <a:pt x="133648" y="160876"/>
                    <a:pt x="113839" y="167260"/>
                  </a:cubicBezTo>
                  <a:lnTo>
                    <a:pt x="113839" y="16726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6252283" y="4890819"/>
            <a:ext cx="54872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21341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 rot="18900000">
            <a:off x="5574503" y="2134915"/>
            <a:ext cx="2273180" cy="3896446"/>
            <a:chOff x="5106024" y="2591673"/>
            <a:chExt cx="1965901" cy="3369739"/>
          </a:xfrm>
        </p:grpSpPr>
        <p:grpSp>
          <p:nvGrpSpPr>
            <p:cNvPr id="47" name="Group 46"/>
            <p:cNvGrpSpPr/>
            <p:nvPr/>
          </p:nvGrpSpPr>
          <p:grpSpPr>
            <a:xfrm>
              <a:off x="5914468" y="4462441"/>
              <a:ext cx="362389" cy="1498971"/>
              <a:chOff x="5914468" y="4462441"/>
              <a:chExt cx="362389" cy="1498971"/>
            </a:xfrm>
          </p:grpSpPr>
          <p:sp>
            <p:nvSpPr>
              <p:cNvPr id="51" name="Rectangle 50"/>
              <p:cNvSpPr/>
              <p:nvPr/>
            </p:nvSpPr>
            <p:spPr bwMode="gray">
              <a:xfrm>
                <a:off x="5992058" y="4570026"/>
                <a:ext cx="202266" cy="134842"/>
              </a:xfrm>
              <a:prstGeom prst="rect">
                <a:avLst/>
              </a:prstGeom>
              <a:solidFill>
                <a:srgbClr val="75787B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45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 bwMode="gray">
              <a:xfrm>
                <a:off x="5914468" y="4662135"/>
                <a:ext cx="362389" cy="1299277"/>
              </a:xfrm>
              <a:prstGeom prst="roundRect">
                <a:avLst>
                  <a:gd name="adj" fmla="val 50000"/>
                </a:avLst>
              </a:prstGeom>
              <a:solidFill>
                <a:schemeClr val="bg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45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gray">
              <a:xfrm>
                <a:off x="5953706" y="4462441"/>
                <a:ext cx="278970" cy="134842"/>
              </a:xfrm>
              <a:prstGeom prst="rect">
                <a:avLst/>
              </a:prstGeom>
              <a:solidFill>
                <a:srgbClr val="63666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45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8" name="Freeform 97"/>
            <p:cNvSpPr>
              <a:spLocks/>
            </p:cNvSpPr>
            <p:nvPr/>
          </p:nvSpPr>
          <p:spPr bwMode="auto">
            <a:xfrm>
              <a:off x="5106024" y="2591673"/>
              <a:ext cx="1965901" cy="1964420"/>
            </a:xfrm>
            <a:custGeom>
              <a:avLst/>
              <a:gdLst>
                <a:gd name="T0" fmla="*/ 1076 w 1122"/>
                <a:gd name="T1" fmla="*/ 561 h 1121"/>
                <a:gd name="T2" fmla="*/ 1030 w 1122"/>
                <a:gd name="T3" fmla="*/ 561 h 1121"/>
                <a:gd name="T4" fmla="*/ 993 w 1122"/>
                <a:gd name="T5" fmla="*/ 743 h 1121"/>
                <a:gd name="T6" fmla="*/ 823 w 1122"/>
                <a:gd name="T7" fmla="*/ 949 h 1121"/>
                <a:gd name="T8" fmla="*/ 561 w 1122"/>
                <a:gd name="T9" fmla="*/ 1029 h 1121"/>
                <a:gd name="T10" fmla="*/ 379 w 1122"/>
                <a:gd name="T11" fmla="*/ 993 h 1121"/>
                <a:gd name="T12" fmla="*/ 172 w 1122"/>
                <a:gd name="T13" fmla="*/ 823 h 1121"/>
                <a:gd name="T14" fmla="*/ 92 w 1122"/>
                <a:gd name="T15" fmla="*/ 561 h 1121"/>
                <a:gd name="T16" fmla="*/ 129 w 1122"/>
                <a:gd name="T17" fmla="*/ 378 h 1121"/>
                <a:gd name="T18" fmla="*/ 299 w 1122"/>
                <a:gd name="T19" fmla="*/ 172 h 1121"/>
                <a:gd name="T20" fmla="*/ 561 w 1122"/>
                <a:gd name="T21" fmla="*/ 92 h 1121"/>
                <a:gd name="T22" fmla="*/ 744 w 1122"/>
                <a:gd name="T23" fmla="*/ 128 h 1121"/>
                <a:gd name="T24" fmla="*/ 950 w 1122"/>
                <a:gd name="T25" fmla="*/ 298 h 1121"/>
                <a:gd name="T26" fmla="*/ 1030 w 1122"/>
                <a:gd name="T27" fmla="*/ 561 h 1121"/>
                <a:gd name="T28" fmla="*/ 1076 w 1122"/>
                <a:gd name="T29" fmla="*/ 561 h 1121"/>
                <a:gd name="T30" fmla="*/ 1122 w 1122"/>
                <a:gd name="T31" fmla="*/ 561 h 1121"/>
                <a:gd name="T32" fmla="*/ 1078 w 1122"/>
                <a:gd name="T33" fmla="*/ 342 h 1121"/>
                <a:gd name="T34" fmla="*/ 875 w 1122"/>
                <a:gd name="T35" fmla="*/ 96 h 1121"/>
                <a:gd name="T36" fmla="*/ 561 w 1122"/>
                <a:gd name="T37" fmla="*/ 0 h 1121"/>
                <a:gd name="T38" fmla="*/ 343 w 1122"/>
                <a:gd name="T39" fmla="*/ 44 h 1121"/>
                <a:gd name="T40" fmla="*/ 96 w 1122"/>
                <a:gd name="T41" fmla="*/ 247 h 1121"/>
                <a:gd name="T42" fmla="*/ 0 w 1122"/>
                <a:gd name="T43" fmla="*/ 561 h 1121"/>
                <a:gd name="T44" fmla="*/ 44 w 1122"/>
                <a:gd name="T45" fmla="*/ 779 h 1121"/>
                <a:gd name="T46" fmla="*/ 248 w 1122"/>
                <a:gd name="T47" fmla="*/ 1026 h 1121"/>
                <a:gd name="T48" fmla="*/ 561 w 1122"/>
                <a:gd name="T49" fmla="*/ 1121 h 1121"/>
                <a:gd name="T50" fmla="*/ 779 w 1122"/>
                <a:gd name="T51" fmla="*/ 1077 h 1121"/>
                <a:gd name="T52" fmla="*/ 1026 w 1122"/>
                <a:gd name="T53" fmla="*/ 874 h 1121"/>
                <a:gd name="T54" fmla="*/ 1122 w 1122"/>
                <a:gd name="T55" fmla="*/ 561 h 1121"/>
                <a:gd name="T56" fmla="*/ 1076 w 1122"/>
                <a:gd name="T57" fmla="*/ 561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2" h="1121">
                  <a:moveTo>
                    <a:pt x="1076" y="561"/>
                  </a:moveTo>
                  <a:cubicBezTo>
                    <a:pt x="1030" y="561"/>
                    <a:pt x="1030" y="561"/>
                    <a:pt x="1030" y="561"/>
                  </a:cubicBezTo>
                  <a:cubicBezTo>
                    <a:pt x="1030" y="625"/>
                    <a:pt x="1017" y="687"/>
                    <a:pt x="993" y="743"/>
                  </a:cubicBezTo>
                  <a:cubicBezTo>
                    <a:pt x="958" y="827"/>
                    <a:pt x="898" y="899"/>
                    <a:pt x="823" y="949"/>
                  </a:cubicBezTo>
                  <a:cubicBezTo>
                    <a:pt x="748" y="1000"/>
                    <a:pt x="658" y="1029"/>
                    <a:pt x="561" y="1029"/>
                  </a:cubicBezTo>
                  <a:cubicBezTo>
                    <a:pt x="496" y="1029"/>
                    <a:pt x="435" y="1016"/>
                    <a:pt x="379" y="993"/>
                  </a:cubicBezTo>
                  <a:cubicBezTo>
                    <a:pt x="294" y="957"/>
                    <a:pt x="223" y="898"/>
                    <a:pt x="172" y="823"/>
                  </a:cubicBezTo>
                  <a:cubicBezTo>
                    <a:pt x="122" y="748"/>
                    <a:pt x="92" y="658"/>
                    <a:pt x="92" y="561"/>
                  </a:cubicBezTo>
                  <a:cubicBezTo>
                    <a:pt x="92" y="496"/>
                    <a:pt x="105" y="434"/>
                    <a:pt x="129" y="378"/>
                  </a:cubicBezTo>
                  <a:cubicBezTo>
                    <a:pt x="165" y="294"/>
                    <a:pt x="224" y="222"/>
                    <a:pt x="299" y="172"/>
                  </a:cubicBezTo>
                  <a:cubicBezTo>
                    <a:pt x="374" y="121"/>
                    <a:pt x="464" y="92"/>
                    <a:pt x="561" y="92"/>
                  </a:cubicBezTo>
                  <a:cubicBezTo>
                    <a:pt x="626" y="92"/>
                    <a:pt x="688" y="105"/>
                    <a:pt x="744" y="128"/>
                  </a:cubicBezTo>
                  <a:cubicBezTo>
                    <a:pt x="828" y="164"/>
                    <a:pt x="899" y="224"/>
                    <a:pt x="950" y="298"/>
                  </a:cubicBezTo>
                  <a:cubicBezTo>
                    <a:pt x="1000" y="373"/>
                    <a:pt x="1030" y="463"/>
                    <a:pt x="1030" y="561"/>
                  </a:cubicBezTo>
                  <a:cubicBezTo>
                    <a:pt x="1076" y="561"/>
                    <a:pt x="1076" y="561"/>
                    <a:pt x="1076" y="561"/>
                  </a:cubicBezTo>
                  <a:cubicBezTo>
                    <a:pt x="1122" y="561"/>
                    <a:pt x="1122" y="561"/>
                    <a:pt x="1122" y="561"/>
                  </a:cubicBezTo>
                  <a:cubicBezTo>
                    <a:pt x="1122" y="483"/>
                    <a:pt x="1106" y="409"/>
                    <a:pt x="1078" y="342"/>
                  </a:cubicBezTo>
                  <a:cubicBezTo>
                    <a:pt x="1035" y="242"/>
                    <a:pt x="964" y="156"/>
                    <a:pt x="875" y="96"/>
                  </a:cubicBezTo>
                  <a:cubicBezTo>
                    <a:pt x="785" y="35"/>
                    <a:pt x="677" y="0"/>
                    <a:pt x="561" y="0"/>
                  </a:cubicBezTo>
                  <a:cubicBezTo>
                    <a:pt x="484" y="0"/>
                    <a:pt x="410" y="15"/>
                    <a:pt x="343" y="44"/>
                  </a:cubicBezTo>
                  <a:cubicBezTo>
                    <a:pt x="242" y="86"/>
                    <a:pt x="157" y="157"/>
                    <a:pt x="96" y="247"/>
                  </a:cubicBezTo>
                  <a:cubicBezTo>
                    <a:pt x="36" y="336"/>
                    <a:pt x="0" y="445"/>
                    <a:pt x="0" y="561"/>
                  </a:cubicBezTo>
                  <a:cubicBezTo>
                    <a:pt x="0" y="638"/>
                    <a:pt x="16" y="712"/>
                    <a:pt x="44" y="779"/>
                  </a:cubicBezTo>
                  <a:cubicBezTo>
                    <a:pt x="87" y="880"/>
                    <a:pt x="158" y="965"/>
                    <a:pt x="248" y="1026"/>
                  </a:cubicBezTo>
                  <a:cubicBezTo>
                    <a:pt x="337" y="1086"/>
                    <a:pt x="445" y="1121"/>
                    <a:pt x="561" y="1121"/>
                  </a:cubicBezTo>
                  <a:cubicBezTo>
                    <a:pt x="638" y="1121"/>
                    <a:pt x="712" y="1106"/>
                    <a:pt x="779" y="1077"/>
                  </a:cubicBezTo>
                  <a:cubicBezTo>
                    <a:pt x="880" y="1035"/>
                    <a:pt x="966" y="964"/>
                    <a:pt x="1026" y="874"/>
                  </a:cubicBezTo>
                  <a:cubicBezTo>
                    <a:pt x="1087" y="785"/>
                    <a:pt x="1122" y="677"/>
                    <a:pt x="1122" y="561"/>
                  </a:cubicBezTo>
                  <a:lnTo>
                    <a:pt x="1076" y="56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95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9" name="Freeform 98"/>
            <p:cNvSpPr>
              <a:spLocks/>
            </p:cNvSpPr>
            <p:nvPr/>
          </p:nvSpPr>
          <p:spPr bwMode="auto">
            <a:xfrm>
              <a:off x="5135194" y="2621591"/>
              <a:ext cx="1906824" cy="1905322"/>
            </a:xfrm>
            <a:custGeom>
              <a:avLst/>
              <a:gdLst>
                <a:gd name="T0" fmla="*/ 1053 w 1076"/>
                <a:gd name="T1" fmla="*/ 538 h 1075"/>
                <a:gd name="T2" fmla="*/ 1030 w 1076"/>
                <a:gd name="T3" fmla="*/ 538 h 1075"/>
                <a:gd name="T4" fmla="*/ 886 w 1076"/>
                <a:gd name="T5" fmla="*/ 885 h 1075"/>
                <a:gd name="T6" fmla="*/ 538 w 1076"/>
                <a:gd name="T7" fmla="*/ 1029 h 1075"/>
                <a:gd name="T8" fmla="*/ 190 w 1076"/>
                <a:gd name="T9" fmla="*/ 885 h 1075"/>
                <a:gd name="T10" fmla="*/ 46 w 1076"/>
                <a:gd name="T11" fmla="*/ 538 h 1075"/>
                <a:gd name="T12" fmla="*/ 190 w 1076"/>
                <a:gd name="T13" fmla="*/ 190 h 1075"/>
                <a:gd name="T14" fmla="*/ 538 w 1076"/>
                <a:gd name="T15" fmla="*/ 46 h 1075"/>
                <a:gd name="T16" fmla="*/ 886 w 1076"/>
                <a:gd name="T17" fmla="*/ 190 h 1075"/>
                <a:gd name="T18" fmla="*/ 1030 w 1076"/>
                <a:gd name="T19" fmla="*/ 538 h 1075"/>
                <a:gd name="T20" fmla="*/ 1053 w 1076"/>
                <a:gd name="T21" fmla="*/ 538 h 1075"/>
                <a:gd name="T22" fmla="*/ 1076 w 1076"/>
                <a:gd name="T23" fmla="*/ 538 h 1075"/>
                <a:gd name="T24" fmla="*/ 918 w 1076"/>
                <a:gd name="T25" fmla="*/ 157 h 1075"/>
                <a:gd name="T26" fmla="*/ 538 w 1076"/>
                <a:gd name="T27" fmla="*/ 0 h 1075"/>
                <a:gd name="T28" fmla="*/ 158 w 1076"/>
                <a:gd name="T29" fmla="*/ 157 h 1075"/>
                <a:gd name="T30" fmla="*/ 0 w 1076"/>
                <a:gd name="T31" fmla="*/ 538 h 1075"/>
                <a:gd name="T32" fmla="*/ 158 w 1076"/>
                <a:gd name="T33" fmla="*/ 918 h 1075"/>
                <a:gd name="T34" fmla="*/ 538 w 1076"/>
                <a:gd name="T35" fmla="*/ 1075 h 1075"/>
                <a:gd name="T36" fmla="*/ 918 w 1076"/>
                <a:gd name="T37" fmla="*/ 918 h 1075"/>
                <a:gd name="T38" fmla="*/ 1076 w 1076"/>
                <a:gd name="T39" fmla="*/ 538 h 1075"/>
                <a:gd name="T40" fmla="*/ 1053 w 1076"/>
                <a:gd name="T41" fmla="*/ 538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6" h="1075">
                  <a:moveTo>
                    <a:pt x="1053" y="538"/>
                  </a:moveTo>
                  <a:cubicBezTo>
                    <a:pt x="1030" y="538"/>
                    <a:pt x="1030" y="538"/>
                    <a:pt x="1030" y="538"/>
                  </a:cubicBezTo>
                  <a:cubicBezTo>
                    <a:pt x="1030" y="673"/>
                    <a:pt x="975" y="796"/>
                    <a:pt x="886" y="885"/>
                  </a:cubicBezTo>
                  <a:cubicBezTo>
                    <a:pt x="797" y="974"/>
                    <a:pt x="674" y="1029"/>
                    <a:pt x="538" y="1029"/>
                  </a:cubicBezTo>
                  <a:cubicBezTo>
                    <a:pt x="402" y="1029"/>
                    <a:pt x="279" y="974"/>
                    <a:pt x="190" y="885"/>
                  </a:cubicBezTo>
                  <a:cubicBezTo>
                    <a:pt x="101" y="796"/>
                    <a:pt x="46" y="673"/>
                    <a:pt x="46" y="538"/>
                  </a:cubicBezTo>
                  <a:cubicBezTo>
                    <a:pt x="46" y="402"/>
                    <a:pt x="101" y="279"/>
                    <a:pt x="190" y="190"/>
                  </a:cubicBezTo>
                  <a:cubicBezTo>
                    <a:pt x="279" y="101"/>
                    <a:pt x="402" y="46"/>
                    <a:pt x="538" y="46"/>
                  </a:cubicBezTo>
                  <a:cubicBezTo>
                    <a:pt x="674" y="46"/>
                    <a:pt x="797" y="101"/>
                    <a:pt x="886" y="190"/>
                  </a:cubicBezTo>
                  <a:cubicBezTo>
                    <a:pt x="975" y="279"/>
                    <a:pt x="1030" y="402"/>
                    <a:pt x="1030" y="538"/>
                  </a:cubicBezTo>
                  <a:cubicBezTo>
                    <a:pt x="1053" y="538"/>
                    <a:pt x="1053" y="538"/>
                    <a:pt x="1053" y="538"/>
                  </a:cubicBezTo>
                  <a:cubicBezTo>
                    <a:pt x="1076" y="538"/>
                    <a:pt x="1076" y="538"/>
                    <a:pt x="1076" y="538"/>
                  </a:cubicBezTo>
                  <a:cubicBezTo>
                    <a:pt x="1076" y="389"/>
                    <a:pt x="1016" y="255"/>
                    <a:pt x="918" y="157"/>
                  </a:cubicBezTo>
                  <a:cubicBezTo>
                    <a:pt x="821" y="60"/>
                    <a:pt x="687" y="0"/>
                    <a:pt x="538" y="0"/>
                  </a:cubicBezTo>
                  <a:cubicBezTo>
                    <a:pt x="390" y="0"/>
                    <a:pt x="255" y="60"/>
                    <a:pt x="158" y="157"/>
                  </a:cubicBezTo>
                  <a:cubicBezTo>
                    <a:pt x="61" y="255"/>
                    <a:pt x="0" y="389"/>
                    <a:pt x="0" y="538"/>
                  </a:cubicBezTo>
                  <a:cubicBezTo>
                    <a:pt x="0" y="686"/>
                    <a:pt x="61" y="821"/>
                    <a:pt x="158" y="918"/>
                  </a:cubicBezTo>
                  <a:cubicBezTo>
                    <a:pt x="255" y="1015"/>
                    <a:pt x="390" y="1075"/>
                    <a:pt x="538" y="1075"/>
                  </a:cubicBezTo>
                  <a:cubicBezTo>
                    <a:pt x="687" y="1075"/>
                    <a:pt x="821" y="1015"/>
                    <a:pt x="918" y="918"/>
                  </a:cubicBezTo>
                  <a:cubicBezTo>
                    <a:pt x="1016" y="821"/>
                    <a:pt x="1076" y="686"/>
                    <a:pt x="1076" y="538"/>
                  </a:cubicBezTo>
                  <a:lnTo>
                    <a:pt x="1053" y="538"/>
                  </a:lnTo>
                  <a:close/>
                </a:path>
              </a:pathLst>
            </a:custGeom>
            <a:solidFill>
              <a:srgbClr val="86BC25"/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95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0" name="Oval 19"/>
            <p:cNvSpPr>
              <a:spLocks noChangeArrowheads="1"/>
            </p:cNvSpPr>
            <p:nvPr/>
          </p:nvSpPr>
          <p:spPr bwMode="auto">
            <a:xfrm>
              <a:off x="5177288" y="2663676"/>
              <a:ext cx="1822634" cy="182263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295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04" name="Graphic 4">
            <a:extLst>
              <a:ext uri="{FF2B5EF4-FFF2-40B4-BE49-F238E27FC236}">
                <a16:creationId xmlns:a16="http://schemas.microsoft.com/office/drawing/2014/main" xmlns="" id="{184C437A-E351-6947-B985-8D2FF1368E6A}"/>
              </a:ext>
            </a:extLst>
          </p:cNvPr>
          <p:cNvGrpSpPr/>
          <p:nvPr/>
        </p:nvGrpSpPr>
        <p:grpSpPr>
          <a:xfrm>
            <a:off x="5862351" y="2644754"/>
            <a:ext cx="540000" cy="540000"/>
            <a:chOff x="7191874" y="918179"/>
            <a:chExt cx="362312" cy="361971"/>
          </a:xfrm>
          <a:solidFill>
            <a:schemeClr val="accent1"/>
          </a:solidFill>
        </p:grpSpPr>
        <p:sp>
          <p:nvSpPr>
            <p:cNvPr id="105" name="Graphic 4">
              <a:extLst>
                <a:ext uri="{FF2B5EF4-FFF2-40B4-BE49-F238E27FC236}">
                  <a16:creationId xmlns:a16="http://schemas.microsoft.com/office/drawing/2014/main" xmlns="" id="{33977D26-C71B-A64C-A5F1-5435DD6A5A26}"/>
                </a:ext>
              </a:extLst>
            </p:cNvPr>
            <p:cNvSpPr/>
            <p:nvPr/>
          </p:nvSpPr>
          <p:spPr>
            <a:xfrm>
              <a:off x="7286445" y="1062457"/>
              <a:ext cx="28115" cy="28089"/>
            </a:xfrm>
            <a:custGeom>
              <a:avLst/>
              <a:gdLst>
                <a:gd name="connsiteX0" fmla="*/ 14058 w 28115"/>
                <a:gd name="connsiteY0" fmla="*/ 28089 h 28089"/>
                <a:gd name="connsiteX1" fmla="*/ 28115 w 28115"/>
                <a:gd name="connsiteY1" fmla="*/ 14045 h 28089"/>
                <a:gd name="connsiteX2" fmla="*/ 14058 w 28115"/>
                <a:gd name="connsiteY2" fmla="*/ 0 h 28089"/>
                <a:gd name="connsiteX3" fmla="*/ 0 w 28115"/>
                <a:gd name="connsiteY3" fmla="*/ 14045 h 28089"/>
                <a:gd name="connsiteX4" fmla="*/ 0 w 28115"/>
                <a:gd name="connsiteY4" fmla="*/ 14045 h 28089"/>
                <a:gd name="connsiteX5" fmla="*/ 14058 w 28115"/>
                <a:gd name="connsiteY5" fmla="*/ 28089 h 2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5" h="28089">
                  <a:moveTo>
                    <a:pt x="14058" y="28089"/>
                  </a:moveTo>
                  <a:cubicBezTo>
                    <a:pt x="21725" y="28089"/>
                    <a:pt x="28115" y="21706"/>
                    <a:pt x="28115" y="14045"/>
                  </a:cubicBezTo>
                  <a:cubicBezTo>
                    <a:pt x="28115" y="6384"/>
                    <a:pt x="21725" y="0"/>
                    <a:pt x="14058" y="0"/>
                  </a:cubicBezTo>
                  <a:cubicBezTo>
                    <a:pt x="6390" y="0"/>
                    <a:pt x="0" y="6384"/>
                    <a:pt x="0" y="14045"/>
                  </a:cubicBezTo>
                  <a:cubicBezTo>
                    <a:pt x="0" y="14045"/>
                    <a:pt x="0" y="14045"/>
                    <a:pt x="0" y="14045"/>
                  </a:cubicBezTo>
                  <a:cubicBezTo>
                    <a:pt x="0" y="21706"/>
                    <a:pt x="6390" y="28089"/>
                    <a:pt x="14058" y="2808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Graphic 4">
              <a:extLst>
                <a:ext uri="{FF2B5EF4-FFF2-40B4-BE49-F238E27FC236}">
                  <a16:creationId xmlns:a16="http://schemas.microsoft.com/office/drawing/2014/main" xmlns="" id="{46B527EB-BC36-8741-9F40-60ECEEC818CE}"/>
                </a:ext>
              </a:extLst>
            </p:cNvPr>
            <p:cNvSpPr/>
            <p:nvPr/>
          </p:nvSpPr>
          <p:spPr>
            <a:xfrm>
              <a:off x="7372070" y="1086716"/>
              <a:ext cx="7667" cy="7660"/>
            </a:xfrm>
            <a:custGeom>
              <a:avLst/>
              <a:gdLst>
                <a:gd name="connsiteX0" fmla="*/ 0 w 7667"/>
                <a:gd name="connsiteY0" fmla="*/ 0 h 7660"/>
                <a:gd name="connsiteX1" fmla="*/ 7667 w 7667"/>
                <a:gd name="connsiteY1" fmla="*/ 0 h 7660"/>
                <a:gd name="connsiteX2" fmla="*/ 7667 w 7667"/>
                <a:gd name="connsiteY2" fmla="*/ 7661 h 7660"/>
                <a:gd name="connsiteX3" fmla="*/ 0 w 7667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7" h="7660">
                  <a:moveTo>
                    <a:pt x="0" y="0"/>
                  </a:moveTo>
                  <a:lnTo>
                    <a:pt x="7667" y="0"/>
                  </a:lnTo>
                  <a:lnTo>
                    <a:pt x="7667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Graphic 4">
              <a:extLst>
                <a:ext uri="{FF2B5EF4-FFF2-40B4-BE49-F238E27FC236}">
                  <a16:creationId xmlns:a16="http://schemas.microsoft.com/office/drawing/2014/main" xmlns="" id="{415D706E-E97D-5543-8A61-75C5FCBA9CD8}"/>
                </a:ext>
              </a:extLst>
            </p:cNvPr>
            <p:cNvSpPr/>
            <p:nvPr/>
          </p:nvSpPr>
          <p:spPr>
            <a:xfrm>
              <a:off x="7191874" y="918179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08629 w 362312"/>
                <a:gd name="connsiteY6" fmla="*/ 131510 h 361971"/>
                <a:gd name="connsiteX7" fmla="*/ 135466 w 362312"/>
                <a:gd name="connsiteY7" fmla="*/ 158323 h 361971"/>
                <a:gd name="connsiteX8" fmla="*/ 108629 w 362312"/>
                <a:gd name="connsiteY8" fmla="*/ 185135 h 361971"/>
                <a:gd name="connsiteX9" fmla="*/ 81792 w 362312"/>
                <a:gd name="connsiteY9" fmla="*/ 158323 h 361971"/>
                <a:gd name="connsiteX10" fmla="*/ 81792 w 362312"/>
                <a:gd name="connsiteY10" fmla="*/ 158323 h 361971"/>
                <a:gd name="connsiteX11" fmla="*/ 108629 w 362312"/>
                <a:gd name="connsiteY11" fmla="*/ 131510 h 361971"/>
                <a:gd name="connsiteX12" fmla="*/ 108629 w 362312"/>
                <a:gd name="connsiteY12" fmla="*/ 131510 h 361971"/>
                <a:gd name="connsiteX13" fmla="*/ 179557 w 362312"/>
                <a:gd name="connsiteY13" fmla="*/ 207479 h 361971"/>
                <a:gd name="connsiteX14" fmla="*/ 178279 w 362312"/>
                <a:gd name="connsiteY14" fmla="*/ 208756 h 361971"/>
                <a:gd name="connsiteX15" fmla="*/ 175084 w 362312"/>
                <a:gd name="connsiteY15" fmla="*/ 211310 h 361971"/>
                <a:gd name="connsiteX16" fmla="*/ 163582 w 362312"/>
                <a:gd name="connsiteY16" fmla="*/ 254083 h 361971"/>
                <a:gd name="connsiteX17" fmla="*/ 157192 w 362312"/>
                <a:gd name="connsiteY17" fmla="*/ 258551 h 361971"/>
                <a:gd name="connsiteX18" fmla="*/ 155276 w 362312"/>
                <a:gd name="connsiteY18" fmla="*/ 258551 h 361971"/>
                <a:gd name="connsiteX19" fmla="*/ 150802 w 362312"/>
                <a:gd name="connsiteY19" fmla="*/ 250891 h 361971"/>
                <a:gd name="connsiteX20" fmla="*/ 157831 w 362312"/>
                <a:gd name="connsiteY20" fmla="*/ 225355 h 361971"/>
                <a:gd name="connsiteX21" fmla="*/ 146330 w 362312"/>
                <a:gd name="connsiteY21" fmla="*/ 254721 h 361971"/>
                <a:gd name="connsiteX22" fmla="*/ 138022 w 362312"/>
                <a:gd name="connsiteY22" fmla="*/ 258551 h 361971"/>
                <a:gd name="connsiteX23" fmla="*/ 133550 w 362312"/>
                <a:gd name="connsiteY23" fmla="*/ 252806 h 361971"/>
                <a:gd name="connsiteX24" fmla="*/ 133550 w 362312"/>
                <a:gd name="connsiteY24" fmla="*/ 216417 h 361971"/>
                <a:gd name="connsiteX25" fmla="*/ 120131 w 362312"/>
                <a:gd name="connsiteY25" fmla="*/ 202372 h 361971"/>
                <a:gd name="connsiteX26" fmla="*/ 120131 w 362312"/>
                <a:gd name="connsiteY26" fmla="*/ 202372 h 361971"/>
                <a:gd name="connsiteX27" fmla="*/ 95849 w 362312"/>
                <a:gd name="connsiteY27" fmla="*/ 202372 h 361971"/>
                <a:gd name="connsiteX28" fmla="*/ 81792 w 362312"/>
                <a:gd name="connsiteY28" fmla="*/ 215779 h 361971"/>
                <a:gd name="connsiteX29" fmla="*/ 81792 w 362312"/>
                <a:gd name="connsiteY29" fmla="*/ 216417 h 361971"/>
                <a:gd name="connsiteX30" fmla="*/ 81792 w 362312"/>
                <a:gd name="connsiteY30" fmla="*/ 252806 h 361971"/>
                <a:gd name="connsiteX31" fmla="*/ 75402 w 362312"/>
                <a:gd name="connsiteY31" fmla="*/ 259190 h 361971"/>
                <a:gd name="connsiteX32" fmla="*/ 69012 w 362312"/>
                <a:gd name="connsiteY32" fmla="*/ 252806 h 361971"/>
                <a:gd name="connsiteX33" fmla="*/ 69012 w 362312"/>
                <a:gd name="connsiteY33" fmla="*/ 216417 h 361971"/>
                <a:gd name="connsiteX34" fmla="*/ 95210 w 362312"/>
                <a:gd name="connsiteY34" fmla="*/ 189604 h 361971"/>
                <a:gd name="connsiteX35" fmla="*/ 95849 w 362312"/>
                <a:gd name="connsiteY35" fmla="*/ 189604 h 361971"/>
                <a:gd name="connsiteX36" fmla="*/ 120131 w 362312"/>
                <a:gd name="connsiteY36" fmla="*/ 189604 h 361971"/>
                <a:gd name="connsiteX37" fmla="*/ 146969 w 362312"/>
                <a:gd name="connsiteY37" fmla="*/ 215779 h 361971"/>
                <a:gd name="connsiteX38" fmla="*/ 146969 w 362312"/>
                <a:gd name="connsiteY38" fmla="*/ 216417 h 361971"/>
                <a:gd name="connsiteX39" fmla="*/ 146969 w 362312"/>
                <a:gd name="connsiteY39" fmla="*/ 218332 h 361971"/>
                <a:gd name="connsiteX40" fmla="*/ 152720 w 362312"/>
                <a:gd name="connsiteY40" fmla="*/ 203011 h 361971"/>
                <a:gd name="connsiteX41" fmla="*/ 164221 w 362312"/>
                <a:gd name="connsiteY41" fmla="*/ 192796 h 361971"/>
                <a:gd name="connsiteX42" fmla="*/ 167416 w 362312"/>
                <a:gd name="connsiteY42" fmla="*/ 192158 h 361971"/>
                <a:gd name="connsiteX43" fmla="*/ 180196 w 362312"/>
                <a:gd name="connsiteY43" fmla="*/ 197265 h 361971"/>
                <a:gd name="connsiteX44" fmla="*/ 179557 w 362312"/>
                <a:gd name="connsiteY44" fmla="*/ 207479 h 361971"/>
                <a:gd name="connsiteX45" fmla="*/ 179557 w 362312"/>
                <a:gd name="connsiteY45" fmla="*/ 207479 h 361971"/>
                <a:gd name="connsiteX46" fmla="*/ 200005 w 362312"/>
                <a:gd name="connsiteY46" fmla="*/ 182582 h 361971"/>
                <a:gd name="connsiteX47" fmla="*/ 193615 w 362312"/>
                <a:gd name="connsiteY47" fmla="*/ 188966 h 361971"/>
                <a:gd name="connsiteX48" fmla="*/ 173167 w 362312"/>
                <a:gd name="connsiteY48" fmla="*/ 188966 h 361971"/>
                <a:gd name="connsiteX49" fmla="*/ 166777 w 362312"/>
                <a:gd name="connsiteY49" fmla="*/ 182582 h 361971"/>
                <a:gd name="connsiteX50" fmla="*/ 166777 w 362312"/>
                <a:gd name="connsiteY50" fmla="*/ 162153 h 361971"/>
                <a:gd name="connsiteX51" fmla="*/ 173167 w 362312"/>
                <a:gd name="connsiteY51" fmla="*/ 155769 h 361971"/>
                <a:gd name="connsiteX52" fmla="*/ 193615 w 362312"/>
                <a:gd name="connsiteY52" fmla="*/ 155769 h 361971"/>
                <a:gd name="connsiteX53" fmla="*/ 200005 w 362312"/>
                <a:gd name="connsiteY53" fmla="*/ 162153 h 361971"/>
                <a:gd name="connsiteX54" fmla="*/ 200005 w 362312"/>
                <a:gd name="connsiteY54" fmla="*/ 182582 h 361971"/>
                <a:gd name="connsiteX55" fmla="*/ 200005 w 362312"/>
                <a:gd name="connsiteY55" fmla="*/ 130233 h 361971"/>
                <a:gd name="connsiteX56" fmla="*/ 193615 w 362312"/>
                <a:gd name="connsiteY56" fmla="*/ 136617 h 361971"/>
                <a:gd name="connsiteX57" fmla="*/ 173167 w 362312"/>
                <a:gd name="connsiteY57" fmla="*/ 136617 h 361971"/>
                <a:gd name="connsiteX58" fmla="*/ 166777 w 362312"/>
                <a:gd name="connsiteY58" fmla="*/ 130233 h 361971"/>
                <a:gd name="connsiteX59" fmla="*/ 166777 w 362312"/>
                <a:gd name="connsiteY59" fmla="*/ 109804 h 361971"/>
                <a:gd name="connsiteX60" fmla="*/ 173167 w 362312"/>
                <a:gd name="connsiteY60" fmla="*/ 103420 h 361971"/>
                <a:gd name="connsiteX61" fmla="*/ 193615 w 362312"/>
                <a:gd name="connsiteY61" fmla="*/ 103420 h 361971"/>
                <a:gd name="connsiteX62" fmla="*/ 200005 w 362312"/>
                <a:gd name="connsiteY62" fmla="*/ 109804 h 361971"/>
                <a:gd name="connsiteX63" fmla="*/ 200005 w 362312"/>
                <a:gd name="connsiteY63" fmla="*/ 130233 h 361971"/>
                <a:gd name="connsiteX64" fmla="*/ 287547 w 362312"/>
                <a:gd name="connsiteY64" fmla="*/ 188966 h 361971"/>
                <a:gd name="connsiteX65" fmla="*/ 218536 w 362312"/>
                <a:gd name="connsiteY65" fmla="*/ 188966 h 361971"/>
                <a:gd name="connsiteX66" fmla="*/ 212146 w 362312"/>
                <a:gd name="connsiteY66" fmla="*/ 182582 h 361971"/>
                <a:gd name="connsiteX67" fmla="*/ 218536 w 362312"/>
                <a:gd name="connsiteY67" fmla="*/ 176198 h 361971"/>
                <a:gd name="connsiteX68" fmla="*/ 287547 w 362312"/>
                <a:gd name="connsiteY68" fmla="*/ 176198 h 361971"/>
                <a:gd name="connsiteX69" fmla="*/ 293937 w 362312"/>
                <a:gd name="connsiteY69" fmla="*/ 182582 h 361971"/>
                <a:gd name="connsiteX70" fmla="*/ 287547 w 362312"/>
                <a:gd name="connsiteY70" fmla="*/ 188966 h 361971"/>
                <a:gd name="connsiteX71" fmla="*/ 287547 w 362312"/>
                <a:gd name="connsiteY71" fmla="*/ 169176 h 361971"/>
                <a:gd name="connsiteX72" fmla="*/ 218536 w 362312"/>
                <a:gd name="connsiteY72" fmla="*/ 169176 h 361971"/>
                <a:gd name="connsiteX73" fmla="*/ 212146 w 362312"/>
                <a:gd name="connsiteY73" fmla="*/ 162792 h 361971"/>
                <a:gd name="connsiteX74" fmla="*/ 218536 w 362312"/>
                <a:gd name="connsiteY74" fmla="*/ 156408 h 361971"/>
                <a:gd name="connsiteX75" fmla="*/ 287547 w 362312"/>
                <a:gd name="connsiteY75" fmla="*/ 156408 h 361971"/>
                <a:gd name="connsiteX76" fmla="*/ 293937 w 362312"/>
                <a:gd name="connsiteY76" fmla="*/ 162792 h 361971"/>
                <a:gd name="connsiteX77" fmla="*/ 287547 w 362312"/>
                <a:gd name="connsiteY77" fmla="*/ 169176 h 361971"/>
                <a:gd name="connsiteX78" fmla="*/ 287547 w 362312"/>
                <a:gd name="connsiteY78" fmla="*/ 136617 h 361971"/>
                <a:gd name="connsiteX79" fmla="*/ 218536 w 362312"/>
                <a:gd name="connsiteY79" fmla="*/ 136617 h 361971"/>
                <a:gd name="connsiteX80" fmla="*/ 212146 w 362312"/>
                <a:gd name="connsiteY80" fmla="*/ 130233 h 361971"/>
                <a:gd name="connsiteX81" fmla="*/ 218536 w 362312"/>
                <a:gd name="connsiteY81" fmla="*/ 123849 h 361971"/>
                <a:gd name="connsiteX82" fmla="*/ 287547 w 362312"/>
                <a:gd name="connsiteY82" fmla="*/ 123849 h 361971"/>
                <a:gd name="connsiteX83" fmla="*/ 293937 w 362312"/>
                <a:gd name="connsiteY83" fmla="*/ 130233 h 361971"/>
                <a:gd name="connsiteX84" fmla="*/ 287547 w 362312"/>
                <a:gd name="connsiteY84" fmla="*/ 136617 h 361971"/>
                <a:gd name="connsiteX85" fmla="*/ 287547 w 362312"/>
                <a:gd name="connsiteY85" fmla="*/ 116188 h 361971"/>
                <a:gd name="connsiteX86" fmla="*/ 218536 w 362312"/>
                <a:gd name="connsiteY86" fmla="*/ 116188 h 361971"/>
                <a:gd name="connsiteX87" fmla="*/ 212146 w 362312"/>
                <a:gd name="connsiteY87" fmla="*/ 109804 h 361971"/>
                <a:gd name="connsiteX88" fmla="*/ 218536 w 362312"/>
                <a:gd name="connsiteY88" fmla="*/ 103420 h 361971"/>
                <a:gd name="connsiteX89" fmla="*/ 287547 w 362312"/>
                <a:gd name="connsiteY89" fmla="*/ 103420 h 361971"/>
                <a:gd name="connsiteX90" fmla="*/ 293937 w 362312"/>
                <a:gd name="connsiteY90" fmla="*/ 109804 h 361971"/>
                <a:gd name="connsiteX91" fmla="*/ 287547 w 362312"/>
                <a:gd name="connsiteY91" fmla="*/ 11618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108629" y="131510"/>
                  </a:moveTo>
                  <a:cubicBezTo>
                    <a:pt x="123326" y="131510"/>
                    <a:pt x="135466" y="143640"/>
                    <a:pt x="135466" y="158323"/>
                  </a:cubicBezTo>
                  <a:cubicBezTo>
                    <a:pt x="135466" y="173006"/>
                    <a:pt x="123326" y="185135"/>
                    <a:pt x="108629" y="185135"/>
                  </a:cubicBezTo>
                  <a:cubicBezTo>
                    <a:pt x="93932" y="185135"/>
                    <a:pt x="81792" y="173006"/>
                    <a:pt x="81792" y="158323"/>
                  </a:cubicBezTo>
                  <a:cubicBezTo>
                    <a:pt x="81792" y="158323"/>
                    <a:pt x="81792" y="158323"/>
                    <a:pt x="81792" y="158323"/>
                  </a:cubicBezTo>
                  <a:cubicBezTo>
                    <a:pt x="81792" y="143640"/>
                    <a:pt x="93293" y="131510"/>
                    <a:pt x="108629" y="131510"/>
                  </a:cubicBezTo>
                  <a:lnTo>
                    <a:pt x="108629" y="131510"/>
                  </a:lnTo>
                  <a:close/>
                  <a:moveTo>
                    <a:pt x="179557" y="207479"/>
                  </a:moveTo>
                  <a:cubicBezTo>
                    <a:pt x="178918" y="208118"/>
                    <a:pt x="178918" y="208756"/>
                    <a:pt x="178279" y="208756"/>
                  </a:cubicBezTo>
                  <a:lnTo>
                    <a:pt x="175084" y="211310"/>
                  </a:lnTo>
                  <a:lnTo>
                    <a:pt x="163582" y="254083"/>
                  </a:lnTo>
                  <a:cubicBezTo>
                    <a:pt x="162943" y="256636"/>
                    <a:pt x="160387" y="259190"/>
                    <a:pt x="157192" y="258551"/>
                  </a:cubicBezTo>
                  <a:cubicBezTo>
                    <a:pt x="156553" y="258551"/>
                    <a:pt x="155915" y="258551"/>
                    <a:pt x="155276" y="258551"/>
                  </a:cubicBezTo>
                  <a:cubicBezTo>
                    <a:pt x="152081" y="257913"/>
                    <a:pt x="150164" y="254083"/>
                    <a:pt x="150802" y="250891"/>
                  </a:cubicBezTo>
                  <a:lnTo>
                    <a:pt x="157831" y="225355"/>
                  </a:lnTo>
                  <a:lnTo>
                    <a:pt x="146330" y="254721"/>
                  </a:lnTo>
                  <a:cubicBezTo>
                    <a:pt x="145051" y="257913"/>
                    <a:pt x="141217" y="259828"/>
                    <a:pt x="138022" y="258551"/>
                  </a:cubicBezTo>
                  <a:cubicBezTo>
                    <a:pt x="135466" y="257913"/>
                    <a:pt x="133550" y="255359"/>
                    <a:pt x="133550" y="252806"/>
                  </a:cubicBezTo>
                  <a:lnTo>
                    <a:pt x="133550" y="216417"/>
                  </a:lnTo>
                  <a:cubicBezTo>
                    <a:pt x="133550" y="208756"/>
                    <a:pt x="127799" y="202372"/>
                    <a:pt x="120131" y="202372"/>
                  </a:cubicBezTo>
                  <a:cubicBezTo>
                    <a:pt x="120131" y="202372"/>
                    <a:pt x="120131" y="202372"/>
                    <a:pt x="120131" y="202372"/>
                  </a:cubicBezTo>
                  <a:lnTo>
                    <a:pt x="95849" y="202372"/>
                  </a:lnTo>
                  <a:cubicBezTo>
                    <a:pt x="88181" y="202372"/>
                    <a:pt x="81792" y="208118"/>
                    <a:pt x="81792" y="215779"/>
                  </a:cubicBezTo>
                  <a:cubicBezTo>
                    <a:pt x="81792" y="215779"/>
                    <a:pt x="81792" y="215779"/>
                    <a:pt x="81792" y="216417"/>
                  </a:cubicBezTo>
                  <a:lnTo>
                    <a:pt x="81792" y="252806"/>
                  </a:lnTo>
                  <a:cubicBezTo>
                    <a:pt x="81792" y="256636"/>
                    <a:pt x="79235" y="259190"/>
                    <a:pt x="75402" y="259190"/>
                  </a:cubicBezTo>
                  <a:cubicBezTo>
                    <a:pt x="71567" y="259190"/>
                    <a:pt x="69012" y="256636"/>
                    <a:pt x="69012" y="252806"/>
                  </a:cubicBezTo>
                  <a:lnTo>
                    <a:pt x="69012" y="216417"/>
                  </a:lnTo>
                  <a:cubicBezTo>
                    <a:pt x="69012" y="201734"/>
                    <a:pt x="80513" y="189604"/>
                    <a:pt x="95210" y="189604"/>
                  </a:cubicBezTo>
                  <a:cubicBezTo>
                    <a:pt x="95210" y="189604"/>
                    <a:pt x="95849" y="189604"/>
                    <a:pt x="95849" y="189604"/>
                  </a:cubicBezTo>
                  <a:lnTo>
                    <a:pt x="120131" y="189604"/>
                  </a:lnTo>
                  <a:cubicBezTo>
                    <a:pt x="134828" y="189604"/>
                    <a:pt x="146969" y="201095"/>
                    <a:pt x="146969" y="215779"/>
                  </a:cubicBezTo>
                  <a:cubicBezTo>
                    <a:pt x="146969" y="215779"/>
                    <a:pt x="146969" y="216417"/>
                    <a:pt x="146969" y="216417"/>
                  </a:cubicBezTo>
                  <a:lnTo>
                    <a:pt x="146969" y="218332"/>
                  </a:lnTo>
                  <a:lnTo>
                    <a:pt x="152720" y="203011"/>
                  </a:lnTo>
                  <a:cubicBezTo>
                    <a:pt x="154636" y="197903"/>
                    <a:pt x="159110" y="194711"/>
                    <a:pt x="164221" y="192796"/>
                  </a:cubicBezTo>
                  <a:lnTo>
                    <a:pt x="167416" y="192158"/>
                  </a:lnTo>
                  <a:cubicBezTo>
                    <a:pt x="172528" y="190881"/>
                    <a:pt x="177001" y="192796"/>
                    <a:pt x="180196" y="197265"/>
                  </a:cubicBezTo>
                  <a:cubicBezTo>
                    <a:pt x="182113" y="199819"/>
                    <a:pt x="182113" y="204287"/>
                    <a:pt x="179557" y="207479"/>
                  </a:cubicBezTo>
                  <a:lnTo>
                    <a:pt x="179557" y="207479"/>
                  </a:lnTo>
                  <a:close/>
                  <a:moveTo>
                    <a:pt x="200005" y="182582"/>
                  </a:moveTo>
                  <a:cubicBezTo>
                    <a:pt x="200005" y="186412"/>
                    <a:pt x="197449" y="188966"/>
                    <a:pt x="193615" y="188966"/>
                  </a:cubicBezTo>
                  <a:lnTo>
                    <a:pt x="173167" y="188966"/>
                  </a:lnTo>
                  <a:cubicBezTo>
                    <a:pt x="169333" y="188966"/>
                    <a:pt x="166777" y="186412"/>
                    <a:pt x="166777" y="182582"/>
                  </a:cubicBezTo>
                  <a:lnTo>
                    <a:pt x="166777" y="162153"/>
                  </a:lnTo>
                  <a:cubicBezTo>
                    <a:pt x="166777" y="158323"/>
                    <a:pt x="169333" y="155769"/>
                    <a:pt x="173167" y="155769"/>
                  </a:cubicBezTo>
                  <a:lnTo>
                    <a:pt x="193615" y="155769"/>
                  </a:lnTo>
                  <a:cubicBezTo>
                    <a:pt x="197449" y="155769"/>
                    <a:pt x="200005" y="158323"/>
                    <a:pt x="200005" y="162153"/>
                  </a:cubicBezTo>
                  <a:lnTo>
                    <a:pt x="200005" y="182582"/>
                  </a:lnTo>
                  <a:close/>
                  <a:moveTo>
                    <a:pt x="200005" y="130233"/>
                  </a:moveTo>
                  <a:cubicBezTo>
                    <a:pt x="200005" y="134064"/>
                    <a:pt x="197449" y="136617"/>
                    <a:pt x="193615" y="136617"/>
                  </a:cubicBezTo>
                  <a:lnTo>
                    <a:pt x="173167" y="136617"/>
                  </a:lnTo>
                  <a:cubicBezTo>
                    <a:pt x="169333" y="136617"/>
                    <a:pt x="166777" y="134064"/>
                    <a:pt x="166777" y="130233"/>
                  </a:cubicBezTo>
                  <a:lnTo>
                    <a:pt x="166777" y="109804"/>
                  </a:lnTo>
                  <a:cubicBezTo>
                    <a:pt x="166777" y="105974"/>
                    <a:pt x="169333" y="103420"/>
                    <a:pt x="173167" y="103420"/>
                  </a:cubicBezTo>
                  <a:lnTo>
                    <a:pt x="193615" y="103420"/>
                  </a:lnTo>
                  <a:cubicBezTo>
                    <a:pt x="197449" y="103420"/>
                    <a:pt x="200005" y="105974"/>
                    <a:pt x="200005" y="109804"/>
                  </a:cubicBezTo>
                  <a:lnTo>
                    <a:pt x="200005" y="130233"/>
                  </a:lnTo>
                  <a:close/>
                  <a:moveTo>
                    <a:pt x="287547" y="188966"/>
                  </a:moveTo>
                  <a:lnTo>
                    <a:pt x="218536" y="188966"/>
                  </a:lnTo>
                  <a:cubicBezTo>
                    <a:pt x="214702" y="188966"/>
                    <a:pt x="212146" y="186412"/>
                    <a:pt x="212146" y="182582"/>
                  </a:cubicBezTo>
                  <a:cubicBezTo>
                    <a:pt x="212146" y="178752"/>
                    <a:pt x="214702" y="176198"/>
                    <a:pt x="218536" y="176198"/>
                  </a:cubicBezTo>
                  <a:lnTo>
                    <a:pt x="287547" y="176198"/>
                  </a:lnTo>
                  <a:cubicBezTo>
                    <a:pt x="291381" y="176198"/>
                    <a:pt x="293937" y="178752"/>
                    <a:pt x="293937" y="182582"/>
                  </a:cubicBezTo>
                  <a:cubicBezTo>
                    <a:pt x="293937" y="186412"/>
                    <a:pt x="290742" y="188966"/>
                    <a:pt x="287547" y="188966"/>
                  </a:cubicBezTo>
                  <a:close/>
                  <a:moveTo>
                    <a:pt x="287547" y="169176"/>
                  </a:moveTo>
                  <a:lnTo>
                    <a:pt x="218536" y="169176"/>
                  </a:lnTo>
                  <a:cubicBezTo>
                    <a:pt x="214702" y="169176"/>
                    <a:pt x="212146" y="166622"/>
                    <a:pt x="212146" y="162792"/>
                  </a:cubicBezTo>
                  <a:cubicBezTo>
                    <a:pt x="212146" y="158961"/>
                    <a:pt x="214702" y="156408"/>
                    <a:pt x="218536" y="156408"/>
                  </a:cubicBezTo>
                  <a:lnTo>
                    <a:pt x="287547" y="156408"/>
                  </a:lnTo>
                  <a:cubicBezTo>
                    <a:pt x="291381" y="156408"/>
                    <a:pt x="293937" y="158961"/>
                    <a:pt x="293937" y="162792"/>
                  </a:cubicBezTo>
                  <a:cubicBezTo>
                    <a:pt x="293937" y="166622"/>
                    <a:pt x="290742" y="169176"/>
                    <a:pt x="287547" y="169176"/>
                  </a:cubicBezTo>
                  <a:close/>
                  <a:moveTo>
                    <a:pt x="287547" y="136617"/>
                  </a:moveTo>
                  <a:lnTo>
                    <a:pt x="218536" y="136617"/>
                  </a:lnTo>
                  <a:cubicBezTo>
                    <a:pt x="214702" y="136617"/>
                    <a:pt x="212146" y="134064"/>
                    <a:pt x="212146" y="130233"/>
                  </a:cubicBezTo>
                  <a:cubicBezTo>
                    <a:pt x="212146" y="126403"/>
                    <a:pt x="214702" y="123849"/>
                    <a:pt x="218536" y="123849"/>
                  </a:cubicBezTo>
                  <a:lnTo>
                    <a:pt x="287547" y="123849"/>
                  </a:lnTo>
                  <a:cubicBezTo>
                    <a:pt x="291381" y="123849"/>
                    <a:pt x="293937" y="126403"/>
                    <a:pt x="293937" y="130233"/>
                  </a:cubicBezTo>
                  <a:cubicBezTo>
                    <a:pt x="293937" y="134064"/>
                    <a:pt x="290742" y="136617"/>
                    <a:pt x="287547" y="136617"/>
                  </a:cubicBezTo>
                  <a:close/>
                  <a:moveTo>
                    <a:pt x="287547" y="116188"/>
                  </a:moveTo>
                  <a:lnTo>
                    <a:pt x="218536" y="116188"/>
                  </a:lnTo>
                  <a:cubicBezTo>
                    <a:pt x="214702" y="116188"/>
                    <a:pt x="212146" y="113635"/>
                    <a:pt x="212146" y="109804"/>
                  </a:cubicBezTo>
                  <a:cubicBezTo>
                    <a:pt x="212146" y="105974"/>
                    <a:pt x="214702" y="103420"/>
                    <a:pt x="218536" y="103420"/>
                  </a:cubicBezTo>
                  <a:lnTo>
                    <a:pt x="287547" y="103420"/>
                  </a:lnTo>
                  <a:cubicBezTo>
                    <a:pt x="291381" y="103420"/>
                    <a:pt x="293937" y="105974"/>
                    <a:pt x="293937" y="109804"/>
                  </a:cubicBezTo>
                  <a:cubicBezTo>
                    <a:pt x="293937" y="113635"/>
                    <a:pt x="290742" y="116188"/>
                    <a:pt x="287547" y="1161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Graphic 4">
              <a:extLst>
                <a:ext uri="{FF2B5EF4-FFF2-40B4-BE49-F238E27FC236}">
                  <a16:creationId xmlns:a16="http://schemas.microsoft.com/office/drawing/2014/main" xmlns="" id="{84470891-7E6D-9F47-A08F-EA0B5E273CE8}"/>
                </a:ext>
              </a:extLst>
            </p:cNvPr>
            <p:cNvSpPr/>
            <p:nvPr/>
          </p:nvSpPr>
          <p:spPr>
            <a:xfrm>
              <a:off x="7372070" y="1034367"/>
              <a:ext cx="7667" cy="7660"/>
            </a:xfrm>
            <a:custGeom>
              <a:avLst/>
              <a:gdLst>
                <a:gd name="connsiteX0" fmla="*/ 0 w 7667"/>
                <a:gd name="connsiteY0" fmla="*/ 0 h 7660"/>
                <a:gd name="connsiteX1" fmla="*/ 7667 w 7667"/>
                <a:gd name="connsiteY1" fmla="*/ 0 h 7660"/>
                <a:gd name="connsiteX2" fmla="*/ 7667 w 7667"/>
                <a:gd name="connsiteY2" fmla="*/ 7661 h 7660"/>
                <a:gd name="connsiteX3" fmla="*/ 0 w 7667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7" h="7660">
                  <a:moveTo>
                    <a:pt x="0" y="0"/>
                  </a:moveTo>
                  <a:lnTo>
                    <a:pt x="7667" y="0"/>
                  </a:lnTo>
                  <a:lnTo>
                    <a:pt x="7667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5532079" y="3721295"/>
            <a:ext cx="540000" cy="540000"/>
            <a:chOff x="5862351" y="2644754"/>
            <a:chExt cx="540000" cy="540000"/>
          </a:xfrm>
          <a:solidFill>
            <a:schemeClr val="accent1"/>
          </a:solidFill>
        </p:grpSpPr>
        <p:sp>
          <p:nvSpPr>
            <p:cNvPr id="122" name="Graphic 4">
              <a:extLst>
                <a:ext uri="{FF2B5EF4-FFF2-40B4-BE49-F238E27FC236}">
                  <a16:creationId xmlns:a16="http://schemas.microsoft.com/office/drawing/2014/main" xmlns="" id="{4BCF4C9E-33B0-024C-8622-C536CDF40037}"/>
                </a:ext>
              </a:extLst>
            </p:cNvPr>
            <p:cNvSpPr/>
            <p:nvPr/>
          </p:nvSpPr>
          <p:spPr>
            <a:xfrm>
              <a:off x="6036635" y="2747611"/>
              <a:ext cx="188053" cy="236190"/>
            </a:xfrm>
            <a:custGeom>
              <a:avLst/>
              <a:gdLst>
                <a:gd name="connsiteX0" fmla="*/ 50481 w 126174"/>
                <a:gd name="connsiteY0" fmla="*/ 53626 h 158322"/>
                <a:gd name="connsiteX1" fmla="*/ 40896 w 126174"/>
                <a:gd name="connsiteY1" fmla="*/ 72139 h 158322"/>
                <a:gd name="connsiteX2" fmla="*/ 35145 w 126174"/>
                <a:gd name="connsiteY2" fmla="*/ 75969 h 158322"/>
                <a:gd name="connsiteX3" fmla="*/ 0 w 126174"/>
                <a:gd name="connsiteY3" fmla="*/ 105974 h 158322"/>
                <a:gd name="connsiteX4" fmla="*/ 32589 w 126174"/>
                <a:gd name="connsiteY4" fmla="*/ 121296 h 158322"/>
                <a:gd name="connsiteX5" fmla="*/ 36423 w 126174"/>
                <a:gd name="connsiteY5" fmla="*/ 128318 h 158322"/>
                <a:gd name="connsiteX6" fmla="*/ 46008 w 126174"/>
                <a:gd name="connsiteY6" fmla="*/ 151939 h 158322"/>
                <a:gd name="connsiteX7" fmla="*/ 68372 w 126174"/>
                <a:gd name="connsiteY7" fmla="*/ 144916 h 158322"/>
                <a:gd name="connsiteX8" fmla="*/ 73484 w 126174"/>
                <a:gd name="connsiteY8" fmla="*/ 142363 h 158322"/>
                <a:gd name="connsiteX9" fmla="*/ 76040 w 126174"/>
                <a:gd name="connsiteY9" fmla="*/ 143001 h 158322"/>
                <a:gd name="connsiteX10" fmla="*/ 108629 w 126174"/>
                <a:gd name="connsiteY10" fmla="*/ 158323 h 158322"/>
                <a:gd name="connsiteX11" fmla="*/ 111824 w 126174"/>
                <a:gd name="connsiteY11" fmla="*/ 110443 h 158322"/>
                <a:gd name="connsiteX12" fmla="*/ 111824 w 126174"/>
                <a:gd name="connsiteY12" fmla="*/ 104697 h 158322"/>
                <a:gd name="connsiteX13" fmla="*/ 118214 w 126174"/>
                <a:gd name="connsiteY13" fmla="*/ 0 h 158322"/>
                <a:gd name="connsiteX14" fmla="*/ 53676 w 126174"/>
                <a:gd name="connsiteY14" fmla="*/ 49795 h 158322"/>
                <a:gd name="connsiteX15" fmla="*/ 50481 w 126174"/>
                <a:gd name="connsiteY15" fmla="*/ 53626 h 158322"/>
                <a:gd name="connsiteX16" fmla="*/ 99683 w 126174"/>
                <a:gd name="connsiteY16" fmla="*/ 91929 h 158322"/>
                <a:gd name="connsiteX17" fmla="*/ 72206 w 126174"/>
                <a:gd name="connsiteY17" fmla="*/ 119381 h 158322"/>
                <a:gd name="connsiteX18" fmla="*/ 44730 w 126174"/>
                <a:gd name="connsiteY18" fmla="*/ 91929 h 158322"/>
                <a:gd name="connsiteX19" fmla="*/ 72206 w 126174"/>
                <a:gd name="connsiteY19" fmla="*/ 64478 h 158322"/>
                <a:gd name="connsiteX20" fmla="*/ 99683 w 126174"/>
                <a:gd name="connsiteY20" fmla="*/ 91929 h 158322"/>
                <a:gd name="connsiteX21" fmla="*/ 99683 w 126174"/>
                <a:gd name="connsiteY21" fmla="*/ 91929 h 158322"/>
                <a:gd name="connsiteX22" fmla="*/ 99683 w 126174"/>
                <a:gd name="connsiteY22" fmla="*/ 91929 h 15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174" h="158322">
                  <a:moveTo>
                    <a:pt x="50481" y="53626"/>
                  </a:moveTo>
                  <a:cubicBezTo>
                    <a:pt x="46647" y="59371"/>
                    <a:pt x="44091" y="65755"/>
                    <a:pt x="40896" y="72139"/>
                  </a:cubicBezTo>
                  <a:cubicBezTo>
                    <a:pt x="39618" y="74693"/>
                    <a:pt x="37701" y="75969"/>
                    <a:pt x="35145" y="75969"/>
                  </a:cubicBezTo>
                  <a:cubicBezTo>
                    <a:pt x="17892" y="76608"/>
                    <a:pt x="3195" y="88737"/>
                    <a:pt x="0" y="105974"/>
                  </a:cubicBezTo>
                  <a:lnTo>
                    <a:pt x="32589" y="121296"/>
                  </a:lnTo>
                  <a:cubicBezTo>
                    <a:pt x="35145" y="122573"/>
                    <a:pt x="36423" y="125126"/>
                    <a:pt x="36423" y="128318"/>
                  </a:cubicBezTo>
                  <a:cubicBezTo>
                    <a:pt x="36423" y="128318"/>
                    <a:pt x="33867" y="146832"/>
                    <a:pt x="46008" y="151939"/>
                  </a:cubicBezTo>
                  <a:cubicBezTo>
                    <a:pt x="58148" y="157046"/>
                    <a:pt x="68372" y="145555"/>
                    <a:pt x="68372" y="144916"/>
                  </a:cubicBezTo>
                  <a:cubicBezTo>
                    <a:pt x="69650" y="143640"/>
                    <a:pt x="71567" y="142363"/>
                    <a:pt x="73484" y="142363"/>
                  </a:cubicBezTo>
                  <a:cubicBezTo>
                    <a:pt x="74123" y="142363"/>
                    <a:pt x="75401" y="142363"/>
                    <a:pt x="76040" y="143001"/>
                  </a:cubicBezTo>
                  <a:lnTo>
                    <a:pt x="108629" y="158323"/>
                  </a:lnTo>
                  <a:cubicBezTo>
                    <a:pt x="117575" y="143640"/>
                    <a:pt x="118853" y="125765"/>
                    <a:pt x="111824" y="110443"/>
                  </a:cubicBezTo>
                  <a:cubicBezTo>
                    <a:pt x="111185" y="108528"/>
                    <a:pt x="111185" y="106613"/>
                    <a:pt x="111824" y="104697"/>
                  </a:cubicBezTo>
                  <a:cubicBezTo>
                    <a:pt x="111824" y="104059"/>
                    <a:pt x="139301" y="49795"/>
                    <a:pt x="118214" y="0"/>
                  </a:cubicBezTo>
                  <a:cubicBezTo>
                    <a:pt x="106712" y="2554"/>
                    <a:pt x="77318" y="12130"/>
                    <a:pt x="53676" y="49795"/>
                  </a:cubicBezTo>
                  <a:cubicBezTo>
                    <a:pt x="52398" y="51710"/>
                    <a:pt x="51759" y="52987"/>
                    <a:pt x="50481" y="53626"/>
                  </a:cubicBezTo>
                  <a:close/>
                  <a:moveTo>
                    <a:pt x="99683" y="91929"/>
                  </a:moveTo>
                  <a:cubicBezTo>
                    <a:pt x="99683" y="107251"/>
                    <a:pt x="87542" y="119381"/>
                    <a:pt x="72206" y="119381"/>
                  </a:cubicBezTo>
                  <a:cubicBezTo>
                    <a:pt x="56871" y="119381"/>
                    <a:pt x="44730" y="107251"/>
                    <a:pt x="44730" y="91929"/>
                  </a:cubicBezTo>
                  <a:cubicBezTo>
                    <a:pt x="44730" y="76608"/>
                    <a:pt x="56871" y="64478"/>
                    <a:pt x="72206" y="64478"/>
                  </a:cubicBezTo>
                  <a:cubicBezTo>
                    <a:pt x="87542" y="65117"/>
                    <a:pt x="99683" y="77246"/>
                    <a:pt x="99683" y="91929"/>
                  </a:cubicBezTo>
                  <a:cubicBezTo>
                    <a:pt x="99683" y="92568"/>
                    <a:pt x="99683" y="92568"/>
                    <a:pt x="99683" y="91929"/>
                  </a:cubicBezTo>
                  <a:lnTo>
                    <a:pt x="99683" y="919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Graphic 4">
              <a:extLst>
                <a:ext uri="{FF2B5EF4-FFF2-40B4-BE49-F238E27FC236}">
                  <a16:creationId xmlns:a16="http://schemas.microsoft.com/office/drawing/2014/main" xmlns="" id="{10BA57C3-986D-5645-8E87-E57C9E2C0B6E}"/>
                </a:ext>
              </a:extLst>
            </p:cNvPr>
            <p:cNvSpPr/>
            <p:nvPr/>
          </p:nvSpPr>
          <p:spPr>
            <a:xfrm>
              <a:off x="5998540" y="2830469"/>
              <a:ext cx="269521" cy="188571"/>
            </a:xfrm>
            <a:custGeom>
              <a:avLst/>
              <a:gdLst>
                <a:gd name="connsiteX0" fmla="*/ 180835 w 180835"/>
                <a:gd name="connsiteY0" fmla="*/ 5746 h 126402"/>
                <a:gd name="connsiteX1" fmla="*/ 175084 w 180835"/>
                <a:gd name="connsiteY1" fmla="*/ 0 h 126402"/>
                <a:gd name="connsiteX2" fmla="*/ 175084 w 180835"/>
                <a:gd name="connsiteY2" fmla="*/ 0 h 126402"/>
                <a:gd name="connsiteX3" fmla="*/ 163582 w 180835"/>
                <a:gd name="connsiteY3" fmla="*/ 0 h 126402"/>
                <a:gd name="connsiteX4" fmla="*/ 149525 w 180835"/>
                <a:gd name="connsiteY4" fmla="*/ 52987 h 126402"/>
                <a:gd name="connsiteX5" fmla="*/ 140579 w 180835"/>
                <a:gd name="connsiteY5" fmla="*/ 115550 h 126402"/>
                <a:gd name="connsiteX6" fmla="*/ 135467 w 180835"/>
                <a:gd name="connsiteY6" fmla="*/ 118104 h 126402"/>
                <a:gd name="connsiteX7" fmla="*/ 132911 w 180835"/>
                <a:gd name="connsiteY7" fmla="*/ 117465 h 126402"/>
                <a:gd name="connsiteX8" fmla="*/ 99044 w 180835"/>
                <a:gd name="connsiteY8" fmla="*/ 101505 h 126402"/>
                <a:gd name="connsiteX9" fmla="*/ 65177 w 180835"/>
                <a:gd name="connsiteY9" fmla="*/ 108528 h 126402"/>
                <a:gd name="connsiteX10" fmla="*/ 47925 w 180835"/>
                <a:gd name="connsiteY10" fmla="*/ 75969 h 126402"/>
                <a:gd name="connsiteX11" fmla="*/ 14697 w 180835"/>
                <a:gd name="connsiteY11" fmla="*/ 60009 h 126402"/>
                <a:gd name="connsiteX12" fmla="*/ 11502 w 180835"/>
                <a:gd name="connsiteY12" fmla="*/ 52987 h 126402"/>
                <a:gd name="connsiteX13" fmla="*/ 56232 w 180835"/>
                <a:gd name="connsiteY13" fmla="*/ 8299 h 126402"/>
                <a:gd name="connsiteX14" fmla="*/ 60066 w 180835"/>
                <a:gd name="connsiteY14" fmla="*/ 0 h 126402"/>
                <a:gd name="connsiteX15" fmla="*/ 5751 w 180835"/>
                <a:gd name="connsiteY15" fmla="*/ 0 h 126402"/>
                <a:gd name="connsiteX16" fmla="*/ 0 w 180835"/>
                <a:gd name="connsiteY16" fmla="*/ 5746 h 126402"/>
                <a:gd name="connsiteX17" fmla="*/ 0 w 180835"/>
                <a:gd name="connsiteY17" fmla="*/ 5746 h 126402"/>
                <a:gd name="connsiteX18" fmla="*/ 0 w 180835"/>
                <a:gd name="connsiteY18" fmla="*/ 126403 h 126402"/>
                <a:gd name="connsiteX19" fmla="*/ 180835 w 180835"/>
                <a:gd name="connsiteY19" fmla="*/ 126403 h 126402"/>
                <a:gd name="connsiteX20" fmla="*/ 180835 w 180835"/>
                <a:gd name="connsiteY20" fmla="*/ 5746 h 12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0835" h="126402">
                  <a:moveTo>
                    <a:pt x="180835" y="5746"/>
                  </a:moveTo>
                  <a:cubicBezTo>
                    <a:pt x="180835" y="2554"/>
                    <a:pt x="178279" y="0"/>
                    <a:pt x="175084" y="0"/>
                  </a:cubicBezTo>
                  <a:lnTo>
                    <a:pt x="175084" y="0"/>
                  </a:lnTo>
                  <a:lnTo>
                    <a:pt x="163582" y="0"/>
                  </a:lnTo>
                  <a:cubicBezTo>
                    <a:pt x="161666" y="18514"/>
                    <a:pt x="157192" y="36389"/>
                    <a:pt x="149525" y="52987"/>
                  </a:cubicBezTo>
                  <a:cubicBezTo>
                    <a:pt x="157832" y="74054"/>
                    <a:pt x="154637" y="97675"/>
                    <a:pt x="140579" y="115550"/>
                  </a:cubicBezTo>
                  <a:cubicBezTo>
                    <a:pt x="139301" y="116827"/>
                    <a:pt x="137384" y="118104"/>
                    <a:pt x="135467" y="118104"/>
                  </a:cubicBezTo>
                  <a:cubicBezTo>
                    <a:pt x="134828" y="118104"/>
                    <a:pt x="133550" y="118104"/>
                    <a:pt x="132911" y="117465"/>
                  </a:cubicBezTo>
                  <a:lnTo>
                    <a:pt x="99044" y="101505"/>
                  </a:lnTo>
                  <a:cubicBezTo>
                    <a:pt x="90098" y="110443"/>
                    <a:pt x="76679" y="112996"/>
                    <a:pt x="65177" y="108528"/>
                  </a:cubicBezTo>
                  <a:cubicBezTo>
                    <a:pt x="49203" y="100867"/>
                    <a:pt x="47286" y="84269"/>
                    <a:pt x="47925" y="75969"/>
                  </a:cubicBezTo>
                  <a:lnTo>
                    <a:pt x="14697" y="60009"/>
                  </a:lnTo>
                  <a:cubicBezTo>
                    <a:pt x="12141" y="58733"/>
                    <a:pt x="10863" y="56179"/>
                    <a:pt x="11502" y="52987"/>
                  </a:cubicBezTo>
                  <a:cubicBezTo>
                    <a:pt x="17892" y="20429"/>
                    <a:pt x="41535" y="9576"/>
                    <a:pt x="56232" y="8299"/>
                  </a:cubicBezTo>
                  <a:cubicBezTo>
                    <a:pt x="57509" y="5746"/>
                    <a:pt x="58788" y="2554"/>
                    <a:pt x="60066" y="0"/>
                  </a:cubicBezTo>
                  <a:lnTo>
                    <a:pt x="5751" y="0"/>
                  </a:lnTo>
                  <a:cubicBezTo>
                    <a:pt x="2556" y="0"/>
                    <a:pt x="0" y="2554"/>
                    <a:pt x="0" y="5746"/>
                  </a:cubicBezTo>
                  <a:lnTo>
                    <a:pt x="0" y="5746"/>
                  </a:lnTo>
                  <a:lnTo>
                    <a:pt x="0" y="126403"/>
                  </a:lnTo>
                  <a:lnTo>
                    <a:pt x="180835" y="126403"/>
                  </a:lnTo>
                  <a:lnTo>
                    <a:pt x="180835" y="574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Graphic 4">
              <a:extLst>
                <a:ext uri="{FF2B5EF4-FFF2-40B4-BE49-F238E27FC236}">
                  <a16:creationId xmlns:a16="http://schemas.microsoft.com/office/drawing/2014/main" xmlns="" id="{21541420-1EAB-7E4E-AA34-FD9BD0F81D52}"/>
                </a:ext>
              </a:extLst>
            </p:cNvPr>
            <p:cNvSpPr/>
            <p:nvPr/>
          </p:nvSpPr>
          <p:spPr>
            <a:xfrm>
              <a:off x="6122348" y="2863803"/>
              <a:ext cx="43808" cy="43809"/>
            </a:xfrm>
            <a:custGeom>
              <a:avLst/>
              <a:gdLst>
                <a:gd name="connsiteX0" fmla="*/ 14697 w 29393"/>
                <a:gd name="connsiteY0" fmla="*/ 29366 h 29366"/>
                <a:gd name="connsiteX1" fmla="*/ 29394 w 29393"/>
                <a:gd name="connsiteY1" fmla="*/ 14683 h 29366"/>
                <a:gd name="connsiteX2" fmla="*/ 14697 w 29393"/>
                <a:gd name="connsiteY2" fmla="*/ 0 h 29366"/>
                <a:gd name="connsiteX3" fmla="*/ 0 w 29393"/>
                <a:gd name="connsiteY3" fmla="*/ 14683 h 29366"/>
                <a:gd name="connsiteX4" fmla="*/ 14697 w 29393"/>
                <a:gd name="connsiteY4" fmla="*/ 29366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93" h="29366">
                  <a:moveTo>
                    <a:pt x="14697" y="29366"/>
                  </a:moveTo>
                  <a:cubicBezTo>
                    <a:pt x="23004" y="29366"/>
                    <a:pt x="29394" y="22982"/>
                    <a:pt x="29394" y="14683"/>
                  </a:cubicBezTo>
                  <a:cubicBezTo>
                    <a:pt x="29394" y="6384"/>
                    <a:pt x="23004" y="0"/>
                    <a:pt x="14697" y="0"/>
                  </a:cubicBezTo>
                  <a:cubicBezTo>
                    <a:pt x="6390" y="0"/>
                    <a:pt x="0" y="6384"/>
                    <a:pt x="0" y="14683"/>
                  </a:cubicBezTo>
                  <a:cubicBezTo>
                    <a:pt x="0" y="22982"/>
                    <a:pt x="6390" y="29366"/>
                    <a:pt x="14697" y="2936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Graphic 4">
              <a:extLst>
                <a:ext uri="{FF2B5EF4-FFF2-40B4-BE49-F238E27FC236}">
                  <a16:creationId xmlns:a16="http://schemas.microsoft.com/office/drawing/2014/main" xmlns="" id="{F31A341F-D1D0-EE4E-8B0D-BCEFB70439CD}"/>
                </a:ext>
              </a:extLst>
            </p:cNvPr>
            <p:cNvSpPr/>
            <p:nvPr/>
          </p:nvSpPr>
          <p:spPr>
            <a:xfrm>
              <a:off x="5983303" y="3038087"/>
              <a:ext cx="299997" cy="4760"/>
            </a:xfrm>
            <a:custGeom>
              <a:avLst/>
              <a:gdLst>
                <a:gd name="connsiteX0" fmla="*/ 3834 w 201283"/>
                <a:gd name="connsiteY0" fmla="*/ 0 h 3191"/>
                <a:gd name="connsiteX1" fmla="*/ 0 w 201283"/>
                <a:gd name="connsiteY1" fmla="*/ 0 h 3191"/>
                <a:gd name="connsiteX2" fmla="*/ 7029 w 201283"/>
                <a:gd name="connsiteY2" fmla="*/ 3192 h 3191"/>
                <a:gd name="connsiteX3" fmla="*/ 194254 w 201283"/>
                <a:gd name="connsiteY3" fmla="*/ 3192 h 3191"/>
                <a:gd name="connsiteX4" fmla="*/ 201283 w 201283"/>
                <a:gd name="connsiteY4" fmla="*/ 0 h 3191"/>
                <a:gd name="connsiteX5" fmla="*/ 3834 w 201283"/>
                <a:gd name="connsiteY5" fmla="*/ 0 h 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283" h="3191">
                  <a:moveTo>
                    <a:pt x="3834" y="0"/>
                  </a:moveTo>
                  <a:lnTo>
                    <a:pt x="0" y="0"/>
                  </a:lnTo>
                  <a:cubicBezTo>
                    <a:pt x="1917" y="1915"/>
                    <a:pt x="4473" y="3192"/>
                    <a:pt x="7029" y="3192"/>
                  </a:cubicBezTo>
                  <a:lnTo>
                    <a:pt x="194254" y="3192"/>
                  </a:lnTo>
                  <a:cubicBezTo>
                    <a:pt x="196810" y="3192"/>
                    <a:pt x="199366" y="1915"/>
                    <a:pt x="201283" y="0"/>
                  </a:cubicBezTo>
                  <a:lnTo>
                    <a:pt x="3834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Graphic 4">
              <a:extLst>
                <a:ext uri="{FF2B5EF4-FFF2-40B4-BE49-F238E27FC236}">
                  <a16:creationId xmlns:a16="http://schemas.microsoft.com/office/drawing/2014/main" xmlns="" id="{6F079247-3720-6843-BDBA-747072E39497}"/>
                </a:ext>
              </a:extLst>
            </p:cNvPr>
            <p:cNvSpPr/>
            <p:nvPr/>
          </p:nvSpPr>
          <p:spPr>
            <a:xfrm>
              <a:off x="5862351" y="2644754"/>
              <a:ext cx="540000" cy="540000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275406 w 362313"/>
                <a:gd name="connsiteY6" fmla="*/ 279618 h 361971"/>
                <a:gd name="connsiteX7" fmla="*/ 88181 w 362313"/>
                <a:gd name="connsiteY7" fmla="*/ 279618 h 361971"/>
                <a:gd name="connsiteX8" fmla="*/ 65816 w 362313"/>
                <a:gd name="connsiteY8" fmla="*/ 257274 h 361971"/>
                <a:gd name="connsiteX9" fmla="*/ 72206 w 362313"/>
                <a:gd name="connsiteY9" fmla="*/ 250890 h 361971"/>
                <a:gd name="connsiteX10" fmla="*/ 78596 w 362313"/>
                <a:gd name="connsiteY10" fmla="*/ 250890 h 361971"/>
                <a:gd name="connsiteX11" fmla="*/ 78596 w 362313"/>
                <a:gd name="connsiteY11" fmla="*/ 130233 h 361971"/>
                <a:gd name="connsiteX12" fmla="*/ 97127 w 362313"/>
                <a:gd name="connsiteY12" fmla="*/ 111720 h 361971"/>
                <a:gd name="connsiteX13" fmla="*/ 97127 w 362313"/>
                <a:gd name="connsiteY13" fmla="*/ 111720 h 361971"/>
                <a:gd name="connsiteX14" fmla="*/ 159109 w 362313"/>
                <a:gd name="connsiteY14" fmla="*/ 111720 h 361971"/>
                <a:gd name="connsiteX15" fmla="*/ 237067 w 362313"/>
                <a:gd name="connsiteY15" fmla="*/ 56817 h 361971"/>
                <a:gd name="connsiteX16" fmla="*/ 243457 w 362313"/>
                <a:gd name="connsiteY16" fmla="*/ 60648 h 361971"/>
                <a:gd name="connsiteX17" fmla="*/ 254958 w 362313"/>
                <a:gd name="connsiteY17" fmla="*/ 112358 h 361971"/>
                <a:gd name="connsiteX18" fmla="*/ 265821 w 362313"/>
                <a:gd name="connsiteY18" fmla="*/ 112358 h 361971"/>
                <a:gd name="connsiteX19" fmla="*/ 284352 w 362313"/>
                <a:gd name="connsiteY19" fmla="*/ 130872 h 361971"/>
                <a:gd name="connsiteX20" fmla="*/ 284352 w 362313"/>
                <a:gd name="connsiteY20" fmla="*/ 130872 h 361971"/>
                <a:gd name="connsiteX21" fmla="*/ 284352 w 362313"/>
                <a:gd name="connsiteY21" fmla="*/ 251529 h 361971"/>
                <a:gd name="connsiteX22" fmla="*/ 290742 w 362313"/>
                <a:gd name="connsiteY22" fmla="*/ 251529 h 361971"/>
                <a:gd name="connsiteX23" fmla="*/ 297132 w 362313"/>
                <a:gd name="connsiteY23" fmla="*/ 257913 h 361971"/>
                <a:gd name="connsiteX24" fmla="*/ 275406 w 362313"/>
                <a:gd name="connsiteY24" fmla="*/ 279618 h 361971"/>
                <a:gd name="connsiteX25" fmla="*/ 275406 w 362313"/>
                <a:gd name="connsiteY25" fmla="*/ 27961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0438"/>
                    <a:pt x="281796" y="0"/>
                    <a:pt x="181474" y="0"/>
                  </a:cubicBezTo>
                  <a:close/>
                  <a:moveTo>
                    <a:pt x="275406" y="279618"/>
                  </a:moveTo>
                  <a:lnTo>
                    <a:pt x="88181" y="279618"/>
                  </a:lnTo>
                  <a:cubicBezTo>
                    <a:pt x="76040" y="279618"/>
                    <a:pt x="65816" y="269404"/>
                    <a:pt x="65816" y="257274"/>
                  </a:cubicBezTo>
                  <a:cubicBezTo>
                    <a:pt x="65816" y="253444"/>
                    <a:pt x="68372" y="250890"/>
                    <a:pt x="72206" y="250890"/>
                  </a:cubicBezTo>
                  <a:lnTo>
                    <a:pt x="78596" y="250890"/>
                  </a:lnTo>
                  <a:lnTo>
                    <a:pt x="78596" y="130233"/>
                  </a:lnTo>
                  <a:cubicBezTo>
                    <a:pt x="78596" y="120019"/>
                    <a:pt x="86903" y="111720"/>
                    <a:pt x="97127" y="111720"/>
                  </a:cubicBezTo>
                  <a:lnTo>
                    <a:pt x="97127" y="111720"/>
                  </a:lnTo>
                  <a:lnTo>
                    <a:pt x="159109" y="111720"/>
                  </a:lnTo>
                  <a:cubicBezTo>
                    <a:pt x="191698" y="61286"/>
                    <a:pt x="235150" y="56817"/>
                    <a:pt x="237067" y="56817"/>
                  </a:cubicBezTo>
                  <a:cubicBezTo>
                    <a:pt x="239623" y="56817"/>
                    <a:pt x="242179" y="58094"/>
                    <a:pt x="243457" y="60648"/>
                  </a:cubicBezTo>
                  <a:cubicBezTo>
                    <a:pt x="251124" y="76608"/>
                    <a:pt x="254958" y="94483"/>
                    <a:pt x="254958" y="112358"/>
                  </a:cubicBezTo>
                  <a:lnTo>
                    <a:pt x="265821" y="112358"/>
                  </a:lnTo>
                  <a:cubicBezTo>
                    <a:pt x="276045" y="112358"/>
                    <a:pt x="284352" y="120657"/>
                    <a:pt x="284352" y="130872"/>
                  </a:cubicBezTo>
                  <a:lnTo>
                    <a:pt x="284352" y="130872"/>
                  </a:lnTo>
                  <a:lnTo>
                    <a:pt x="284352" y="251529"/>
                  </a:lnTo>
                  <a:lnTo>
                    <a:pt x="290742" y="251529"/>
                  </a:lnTo>
                  <a:cubicBezTo>
                    <a:pt x="294576" y="251529"/>
                    <a:pt x="297132" y="254082"/>
                    <a:pt x="297132" y="257913"/>
                  </a:cubicBezTo>
                  <a:cubicBezTo>
                    <a:pt x="297771" y="269404"/>
                    <a:pt x="287547" y="278980"/>
                    <a:pt x="275406" y="279618"/>
                  </a:cubicBezTo>
                  <a:lnTo>
                    <a:pt x="275406" y="27961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AAEE7FE-FB70-4E7C-A882-C72F9DA7D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О </a:t>
            </a:r>
            <a:r>
              <a:rPr lang="ru-RU" dirty="0" smtClean="0">
                <a:solidFill>
                  <a:schemeClr val="bg1"/>
                </a:solidFill>
              </a:rPr>
              <a:t>компании ДРТ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80E3A0A1-978B-495C-9725-B77EFAE4115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bg1">
                    <a:lumMod val="85000"/>
                  </a:schemeClr>
                </a:solidFill>
              </a:rPr>
              <a:t>«Деловые Решения и Технологии»</a:t>
            </a:r>
            <a:endParaRPr lang="en-US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288058" y="1751855"/>
            <a:ext cx="3604265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Профессиональные знания и опыт около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/>
            </a:r>
            <a:b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2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0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00 сотрудник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позволяют нам оказывать услуги крупнейшим государственным и частным компаниям, работающим в различных отраслях экономики</a:t>
            </a:r>
          </a:p>
        </p:txBody>
      </p:sp>
      <p:grpSp>
        <p:nvGrpSpPr>
          <p:cNvPr id="23" name="Graphic 4">
            <a:extLst>
              <a:ext uri="{FF2B5EF4-FFF2-40B4-BE49-F238E27FC236}">
                <a16:creationId xmlns:a16="http://schemas.microsoft.com/office/drawing/2014/main" xmlns="" id="{74AEA966-877E-2547-95A9-FF2ED6C76320}"/>
              </a:ext>
            </a:extLst>
          </p:cNvPr>
          <p:cNvGrpSpPr/>
          <p:nvPr/>
        </p:nvGrpSpPr>
        <p:grpSpPr>
          <a:xfrm>
            <a:off x="7901397" y="4058031"/>
            <a:ext cx="720000" cy="720000"/>
            <a:chOff x="2560447" y="1885352"/>
            <a:chExt cx="361674" cy="361333"/>
          </a:xfrm>
          <a:solidFill>
            <a:schemeClr val="bg1"/>
          </a:solidFill>
        </p:grpSpPr>
        <p:sp>
          <p:nvSpPr>
            <p:cNvPr id="24" name="Graphic 4">
              <a:extLst>
                <a:ext uri="{FF2B5EF4-FFF2-40B4-BE49-F238E27FC236}">
                  <a16:creationId xmlns:a16="http://schemas.microsoft.com/office/drawing/2014/main" xmlns="" id="{E04D8564-DAB6-714A-9C8E-3C4DC739828B}"/>
                </a:ext>
              </a:extLst>
            </p:cNvPr>
            <p:cNvSpPr/>
            <p:nvPr/>
          </p:nvSpPr>
          <p:spPr>
            <a:xfrm>
              <a:off x="2560447" y="1885352"/>
              <a:ext cx="361674" cy="361333"/>
            </a:xfrm>
            <a:custGeom>
              <a:avLst/>
              <a:gdLst>
                <a:gd name="connsiteX0" fmla="*/ 180835 w 361674"/>
                <a:gd name="connsiteY0" fmla="*/ 0 h 361333"/>
                <a:gd name="connsiteX1" fmla="*/ 0 w 361674"/>
                <a:gd name="connsiteY1" fmla="*/ 180667 h 361333"/>
                <a:gd name="connsiteX2" fmla="*/ 180835 w 361674"/>
                <a:gd name="connsiteY2" fmla="*/ 361333 h 361333"/>
                <a:gd name="connsiteX3" fmla="*/ 361670 w 361674"/>
                <a:gd name="connsiteY3" fmla="*/ 180667 h 361333"/>
                <a:gd name="connsiteX4" fmla="*/ 180835 w 361674"/>
                <a:gd name="connsiteY4" fmla="*/ 0 h 361333"/>
                <a:gd name="connsiteX5" fmla="*/ 180835 w 361674"/>
                <a:gd name="connsiteY5" fmla="*/ 349204 h 361333"/>
                <a:gd name="connsiteX6" fmla="*/ 12780 w 361674"/>
                <a:gd name="connsiteY6" fmla="*/ 181305 h 361333"/>
                <a:gd name="connsiteX7" fmla="*/ 180835 w 361674"/>
                <a:gd name="connsiteY7" fmla="*/ 13406 h 361333"/>
                <a:gd name="connsiteX8" fmla="*/ 348890 w 361674"/>
                <a:gd name="connsiteY8" fmla="*/ 181305 h 361333"/>
                <a:gd name="connsiteX9" fmla="*/ 180835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2309" y="81076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0" y="88737"/>
                    <a:pt x="348890" y="181305"/>
                  </a:cubicBezTo>
                  <a:cubicBezTo>
                    <a:pt x="348890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xmlns="" id="{63E71546-016F-2542-B8AA-66F27A70FB21}"/>
                </a:ext>
              </a:extLst>
            </p:cNvPr>
            <p:cNvSpPr/>
            <p:nvPr/>
          </p:nvSpPr>
          <p:spPr>
            <a:xfrm>
              <a:off x="2611966" y="1990688"/>
              <a:ext cx="73324" cy="71500"/>
            </a:xfrm>
            <a:custGeom>
              <a:avLst/>
              <a:gdLst>
                <a:gd name="connsiteX0" fmla="*/ 59027 w 73324"/>
                <a:gd name="connsiteY0" fmla="*/ 70224 h 71500"/>
                <a:gd name="connsiteX1" fmla="*/ 61583 w 73324"/>
                <a:gd name="connsiteY1" fmla="*/ 63840 h 71500"/>
                <a:gd name="connsiteX2" fmla="*/ 58388 w 73324"/>
                <a:gd name="connsiteY2" fmla="*/ 45965 h 71500"/>
                <a:gd name="connsiteX3" fmla="*/ 71168 w 73324"/>
                <a:gd name="connsiteY3" fmla="*/ 33197 h 71500"/>
                <a:gd name="connsiteX4" fmla="*/ 73085 w 73324"/>
                <a:gd name="connsiteY4" fmla="*/ 26813 h 71500"/>
                <a:gd name="connsiteX5" fmla="*/ 67973 w 73324"/>
                <a:gd name="connsiteY5" fmla="*/ 22344 h 71500"/>
                <a:gd name="connsiteX6" fmla="*/ 50081 w 73324"/>
                <a:gd name="connsiteY6" fmla="*/ 19790 h 71500"/>
                <a:gd name="connsiteX7" fmla="*/ 42413 w 73324"/>
                <a:gd name="connsiteY7" fmla="*/ 3830 h 71500"/>
                <a:gd name="connsiteX8" fmla="*/ 36662 w 73324"/>
                <a:gd name="connsiteY8" fmla="*/ 0 h 71500"/>
                <a:gd name="connsiteX9" fmla="*/ 30911 w 73324"/>
                <a:gd name="connsiteY9" fmla="*/ 3830 h 71500"/>
                <a:gd name="connsiteX10" fmla="*/ 23243 w 73324"/>
                <a:gd name="connsiteY10" fmla="*/ 19790 h 71500"/>
                <a:gd name="connsiteX11" fmla="*/ 5352 w 73324"/>
                <a:gd name="connsiteY11" fmla="*/ 22344 h 71500"/>
                <a:gd name="connsiteX12" fmla="*/ 240 w 73324"/>
                <a:gd name="connsiteY12" fmla="*/ 26813 h 71500"/>
                <a:gd name="connsiteX13" fmla="*/ 2157 w 73324"/>
                <a:gd name="connsiteY13" fmla="*/ 33197 h 71500"/>
                <a:gd name="connsiteX14" fmla="*/ 14937 w 73324"/>
                <a:gd name="connsiteY14" fmla="*/ 45965 h 71500"/>
                <a:gd name="connsiteX15" fmla="*/ 11742 w 73324"/>
                <a:gd name="connsiteY15" fmla="*/ 63840 h 71500"/>
                <a:gd name="connsiteX16" fmla="*/ 14297 w 73324"/>
                <a:gd name="connsiteY16" fmla="*/ 70224 h 71500"/>
                <a:gd name="connsiteX17" fmla="*/ 18131 w 73324"/>
                <a:gd name="connsiteY17" fmla="*/ 71500 h 71500"/>
                <a:gd name="connsiteX18" fmla="*/ 21326 w 73324"/>
                <a:gd name="connsiteY18" fmla="*/ 70862 h 71500"/>
                <a:gd name="connsiteX19" fmla="*/ 37301 w 73324"/>
                <a:gd name="connsiteY19" fmla="*/ 62563 h 71500"/>
                <a:gd name="connsiteX20" fmla="*/ 53276 w 73324"/>
                <a:gd name="connsiteY20" fmla="*/ 70862 h 71500"/>
                <a:gd name="connsiteX21" fmla="*/ 59027 w 73324"/>
                <a:gd name="connsiteY21" fmla="*/ 70224 h 71500"/>
                <a:gd name="connsiteX22" fmla="*/ 45608 w 73324"/>
                <a:gd name="connsiteY22" fmla="*/ 44688 h 71500"/>
                <a:gd name="connsiteX23" fmla="*/ 46886 w 73324"/>
                <a:gd name="connsiteY23" fmla="*/ 52987 h 71500"/>
                <a:gd name="connsiteX24" fmla="*/ 39218 w 73324"/>
                <a:gd name="connsiteY24" fmla="*/ 49157 h 71500"/>
                <a:gd name="connsiteX25" fmla="*/ 33467 w 73324"/>
                <a:gd name="connsiteY25" fmla="*/ 49157 h 71500"/>
                <a:gd name="connsiteX26" fmla="*/ 25799 w 73324"/>
                <a:gd name="connsiteY26" fmla="*/ 52987 h 71500"/>
                <a:gd name="connsiteX27" fmla="*/ 27077 w 73324"/>
                <a:gd name="connsiteY27" fmla="*/ 44688 h 71500"/>
                <a:gd name="connsiteX28" fmla="*/ 25160 w 73324"/>
                <a:gd name="connsiteY28" fmla="*/ 38942 h 71500"/>
                <a:gd name="connsiteX29" fmla="*/ 19409 w 73324"/>
                <a:gd name="connsiteY29" fmla="*/ 33197 h 71500"/>
                <a:gd name="connsiteX30" fmla="*/ 27716 w 73324"/>
                <a:gd name="connsiteY30" fmla="*/ 31920 h 71500"/>
                <a:gd name="connsiteX31" fmla="*/ 32828 w 73324"/>
                <a:gd name="connsiteY31" fmla="*/ 28728 h 71500"/>
                <a:gd name="connsiteX32" fmla="*/ 36662 w 73324"/>
                <a:gd name="connsiteY32" fmla="*/ 21067 h 71500"/>
                <a:gd name="connsiteX33" fmla="*/ 40496 w 73324"/>
                <a:gd name="connsiteY33" fmla="*/ 28728 h 71500"/>
                <a:gd name="connsiteX34" fmla="*/ 45608 w 73324"/>
                <a:gd name="connsiteY34" fmla="*/ 31920 h 71500"/>
                <a:gd name="connsiteX35" fmla="*/ 53915 w 73324"/>
                <a:gd name="connsiteY35" fmla="*/ 33197 h 71500"/>
                <a:gd name="connsiteX36" fmla="*/ 48164 w 73324"/>
                <a:gd name="connsiteY36" fmla="*/ 38942 h 71500"/>
                <a:gd name="connsiteX37" fmla="*/ 45608 w 73324"/>
                <a:gd name="connsiteY37" fmla="*/ 44688 h 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24" h="71500">
                  <a:moveTo>
                    <a:pt x="59027" y="70224"/>
                  </a:moveTo>
                  <a:cubicBezTo>
                    <a:pt x="60944" y="68947"/>
                    <a:pt x="62222" y="66393"/>
                    <a:pt x="61583" y="63840"/>
                  </a:cubicBezTo>
                  <a:lnTo>
                    <a:pt x="58388" y="45965"/>
                  </a:lnTo>
                  <a:lnTo>
                    <a:pt x="71168" y="33197"/>
                  </a:lnTo>
                  <a:cubicBezTo>
                    <a:pt x="73085" y="31281"/>
                    <a:pt x="73724" y="28728"/>
                    <a:pt x="73085" y="26813"/>
                  </a:cubicBez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7" y="45965"/>
                  </a:lnTo>
                  <a:lnTo>
                    <a:pt x="11742" y="63840"/>
                  </a:lnTo>
                  <a:cubicBezTo>
                    <a:pt x="11103" y="66393"/>
                    <a:pt x="12381" y="68947"/>
                    <a:pt x="14297" y="70224"/>
                  </a:cubicBezTo>
                  <a:cubicBezTo>
                    <a:pt x="15576" y="70862"/>
                    <a:pt x="16853" y="71500"/>
                    <a:pt x="18131" y="71500"/>
                  </a:cubicBezTo>
                  <a:cubicBezTo>
                    <a:pt x="19409" y="71500"/>
                    <a:pt x="20048" y="71500"/>
                    <a:pt x="21326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4554" y="71500"/>
                    <a:pt x="57110" y="71500"/>
                    <a:pt x="59027" y="70224"/>
                  </a:cubicBezTo>
                  <a:close/>
                  <a:moveTo>
                    <a:pt x="45608" y="44688"/>
                  </a:moveTo>
                  <a:lnTo>
                    <a:pt x="46886" y="52987"/>
                  </a:lnTo>
                  <a:lnTo>
                    <a:pt x="39218" y="49157"/>
                  </a:lnTo>
                  <a:cubicBezTo>
                    <a:pt x="37301" y="47880"/>
                    <a:pt x="35384" y="47880"/>
                    <a:pt x="33467" y="49157"/>
                  </a:cubicBezTo>
                  <a:lnTo>
                    <a:pt x="25799" y="52987"/>
                  </a:lnTo>
                  <a:lnTo>
                    <a:pt x="27077" y="44688"/>
                  </a:lnTo>
                  <a:cubicBezTo>
                    <a:pt x="27716" y="42773"/>
                    <a:pt x="26438" y="40219"/>
                    <a:pt x="25160" y="38942"/>
                  </a:cubicBezTo>
                  <a:lnTo>
                    <a:pt x="19409" y="33197"/>
                  </a:lnTo>
                  <a:lnTo>
                    <a:pt x="27716" y="31920"/>
                  </a:lnTo>
                  <a:cubicBezTo>
                    <a:pt x="29633" y="31920"/>
                    <a:pt x="31550" y="30005"/>
                    <a:pt x="32828" y="28728"/>
                  </a:cubicBezTo>
                  <a:lnTo>
                    <a:pt x="36662" y="21067"/>
                  </a:lnTo>
                  <a:lnTo>
                    <a:pt x="40496" y="28728"/>
                  </a:lnTo>
                  <a:cubicBezTo>
                    <a:pt x="41135" y="30643"/>
                    <a:pt x="43052" y="31920"/>
                    <a:pt x="45608" y="31920"/>
                  </a:cubicBezTo>
                  <a:lnTo>
                    <a:pt x="53915" y="33197"/>
                  </a:lnTo>
                  <a:lnTo>
                    <a:pt x="48164" y="38942"/>
                  </a:lnTo>
                  <a:cubicBezTo>
                    <a:pt x="45608" y="40857"/>
                    <a:pt x="44969" y="42773"/>
                    <a:pt x="45608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xmlns="" id="{DEA156F2-E1FB-F342-A3F3-0337031BD883}"/>
                </a:ext>
              </a:extLst>
            </p:cNvPr>
            <p:cNvSpPr/>
            <p:nvPr/>
          </p:nvSpPr>
          <p:spPr>
            <a:xfrm>
              <a:off x="2705259" y="1990688"/>
              <a:ext cx="73324" cy="71500"/>
            </a:xfrm>
            <a:custGeom>
              <a:avLst/>
              <a:gdLst>
                <a:gd name="connsiteX0" fmla="*/ 59027 w 73324"/>
                <a:gd name="connsiteY0" fmla="*/ 70224 h 71500"/>
                <a:gd name="connsiteX1" fmla="*/ 61583 w 73324"/>
                <a:gd name="connsiteY1" fmla="*/ 63840 h 71500"/>
                <a:gd name="connsiteX2" fmla="*/ 58388 w 73324"/>
                <a:gd name="connsiteY2" fmla="*/ 45965 h 71500"/>
                <a:gd name="connsiteX3" fmla="*/ 71168 w 73324"/>
                <a:gd name="connsiteY3" fmla="*/ 33197 h 71500"/>
                <a:gd name="connsiteX4" fmla="*/ 73085 w 73324"/>
                <a:gd name="connsiteY4" fmla="*/ 26813 h 71500"/>
                <a:gd name="connsiteX5" fmla="*/ 67973 w 73324"/>
                <a:gd name="connsiteY5" fmla="*/ 22344 h 71500"/>
                <a:gd name="connsiteX6" fmla="*/ 50081 w 73324"/>
                <a:gd name="connsiteY6" fmla="*/ 19790 h 71500"/>
                <a:gd name="connsiteX7" fmla="*/ 42413 w 73324"/>
                <a:gd name="connsiteY7" fmla="*/ 3830 h 71500"/>
                <a:gd name="connsiteX8" fmla="*/ 36662 w 73324"/>
                <a:gd name="connsiteY8" fmla="*/ 0 h 71500"/>
                <a:gd name="connsiteX9" fmla="*/ 30911 w 73324"/>
                <a:gd name="connsiteY9" fmla="*/ 3830 h 71500"/>
                <a:gd name="connsiteX10" fmla="*/ 23243 w 73324"/>
                <a:gd name="connsiteY10" fmla="*/ 19790 h 71500"/>
                <a:gd name="connsiteX11" fmla="*/ 5352 w 73324"/>
                <a:gd name="connsiteY11" fmla="*/ 22344 h 71500"/>
                <a:gd name="connsiteX12" fmla="*/ 240 w 73324"/>
                <a:gd name="connsiteY12" fmla="*/ 26813 h 71500"/>
                <a:gd name="connsiteX13" fmla="*/ 2157 w 73324"/>
                <a:gd name="connsiteY13" fmla="*/ 33197 h 71500"/>
                <a:gd name="connsiteX14" fmla="*/ 14937 w 73324"/>
                <a:gd name="connsiteY14" fmla="*/ 45965 h 71500"/>
                <a:gd name="connsiteX15" fmla="*/ 11742 w 73324"/>
                <a:gd name="connsiteY15" fmla="*/ 63840 h 71500"/>
                <a:gd name="connsiteX16" fmla="*/ 14298 w 73324"/>
                <a:gd name="connsiteY16" fmla="*/ 70224 h 71500"/>
                <a:gd name="connsiteX17" fmla="*/ 18132 w 73324"/>
                <a:gd name="connsiteY17" fmla="*/ 71500 h 71500"/>
                <a:gd name="connsiteX18" fmla="*/ 21327 w 73324"/>
                <a:gd name="connsiteY18" fmla="*/ 70862 h 71500"/>
                <a:gd name="connsiteX19" fmla="*/ 37301 w 73324"/>
                <a:gd name="connsiteY19" fmla="*/ 62563 h 71500"/>
                <a:gd name="connsiteX20" fmla="*/ 53276 w 73324"/>
                <a:gd name="connsiteY20" fmla="*/ 70862 h 71500"/>
                <a:gd name="connsiteX21" fmla="*/ 59027 w 73324"/>
                <a:gd name="connsiteY21" fmla="*/ 70224 h 71500"/>
                <a:gd name="connsiteX22" fmla="*/ 45608 w 73324"/>
                <a:gd name="connsiteY22" fmla="*/ 44688 h 71500"/>
                <a:gd name="connsiteX23" fmla="*/ 46886 w 73324"/>
                <a:gd name="connsiteY23" fmla="*/ 52987 h 71500"/>
                <a:gd name="connsiteX24" fmla="*/ 39218 w 73324"/>
                <a:gd name="connsiteY24" fmla="*/ 49157 h 71500"/>
                <a:gd name="connsiteX25" fmla="*/ 33467 w 73324"/>
                <a:gd name="connsiteY25" fmla="*/ 49157 h 71500"/>
                <a:gd name="connsiteX26" fmla="*/ 25799 w 73324"/>
                <a:gd name="connsiteY26" fmla="*/ 52987 h 71500"/>
                <a:gd name="connsiteX27" fmla="*/ 27077 w 73324"/>
                <a:gd name="connsiteY27" fmla="*/ 44688 h 71500"/>
                <a:gd name="connsiteX28" fmla="*/ 25160 w 73324"/>
                <a:gd name="connsiteY28" fmla="*/ 38942 h 71500"/>
                <a:gd name="connsiteX29" fmla="*/ 19409 w 73324"/>
                <a:gd name="connsiteY29" fmla="*/ 33197 h 71500"/>
                <a:gd name="connsiteX30" fmla="*/ 27716 w 73324"/>
                <a:gd name="connsiteY30" fmla="*/ 31920 h 71500"/>
                <a:gd name="connsiteX31" fmla="*/ 32828 w 73324"/>
                <a:gd name="connsiteY31" fmla="*/ 28728 h 71500"/>
                <a:gd name="connsiteX32" fmla="*/ 36662 w 73324"/>
                <a:gd name="connsiteY32" fmla="*/ 21067 h 71500"/>
                <a:gd name="connsiteX33" fmla="*/ 40496 w 73324"/>
                <a:gd name="connsiteY33" fmla="*/ 28728 h 71500"/>
                <a:gd name="connsiteX34" fmla="*/ 45608 w 73324"/>
                <a:gd name="connsiteY34" fmla="*/ 31920 h 71500"/>
                <a:gd name="connsiteX35" fmla="*/ 53915 w 73324"/>
                <a:gd name="connsiteY35" fmla="*/ 33197 h 71500"/>
                <a:gd name="connsiteX36" fmla="*/ 48164 w 73324"/>
                <a:gd name="connsiteY36" fmla="*/ 38942 h 71500"/>
                <a:gd name="connsiteX37" fmla="*/ 45608 w 73324"/>
                <a:gd name="connsiteY37" fmla="*/ 44688 h 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24" h="71500">
                  <a:moveTo>
                    <a:pt x="59027" y="70224"/>
                  </a:moveTo>
                  <a:cubicBezTo>
                    <a:pt x="60944" y="68947"/>
                    <a:pt x="62222" y="66393"/>
                    <a:pt x="61583" y="63840"/>
                  </a:cubicBezTo>
                  <a:lnTo>
                    <a:pt x="58388" y="45965"/>
                  </a:lnTo>
                  <a:lnTo>
                    <a:pt x="71168" y="33197"/>
                  </a:lnTo>
                  <a:cubicBezTo>
                    <a:pt x="73085" y="31281"/>
                    <a:pt x="73724" y="28728"/>
                    <a:pt x="73085" y="26813"/>
                  </a:cubicBez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7" y="45965"/>
                  </a:lnTo>
                  <a:lnTo>
                    <a:pt x="11742" y="63840"/>
                  </a:lnTo>
                  <a:cubicBezTo>
                    <a:pt x="11103" y="66393"/>
                    <a:pt x="12380" y="68947"/>
                    <a:pt x="14298" y="70224"/>
                  </a:cubicBezTo>
                  <a:cubicBezTo>
                    <a:pt x="15575" y="70862"/>
                    <a:pt x="16854" y="71500"/>
                    <a:pt x="18132" y="71500"/>
                  </a:cubicBezTo>
                  <a:cubicBezTo>
                    <a:pt x="19409" y="71500"/>
                    <a:pt x="20048" y="71500"/>
                    <a:pt x="21327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4554" y="71500"/>
                    <a:pt x="57110" y="71500"/>
                    <a:pt x="59027" y="70224"/>
                  </a:cubicBezTo>
                  <a:close/>
                  <a:moveTo>
                    <a:pt x="45608" y="44688"/>
                  </a:moveTo>
                  <a:lnTo>
                    <a:pt x="46886" y="52987"/>
                  </a:lnTo>
                  <a:lnTo>
                    <a:pt x="39218" y="49157"/>
                  </a:lnTo>
                  <a:cubicBezTo>
                    <a:pt x="37301" y="47880"/>
                    <a:pt x="35384" y="47880"/>
                    <a:pt x="33467" y="49157"/>
                  </a:cubicBezTo>
                  <a:lnTo>
                    <a:pt x="25799" y="52987"/>
                  </a:lnTo>
                  <a:lnTo>
                    <a:pt x="27077" y="44688"/>
                  </a:lnTo>
                  <a:cubicBezTo>
                    <a:pt x="27716" y="42773"/>
                    <a:pt x="26438" y="40219"/>
                    <a:pt x="25160" y="38942"/>
                  </a:cubicBezTo>
                  <a:lnTo>
                    <a:pt x="19409" y="33197"/>
                  </a:lnTo>
                  <a:lnTo>
                    <a:pt x="27716" y="31920"/>
                  </a:lnTo>
                  <a:cubicBezTo>
                    <a:pt x="29633" y="31920"/>
                    <a:pt x="31550" y="30005"/>
                    <a:pt x="32828" y="28728"/>
                  </a:cubicBezTo>
                  <a:lnTo>
                    <a:pt x="36662" y="21067"/>
                  </a:lnTo>
                  <a:lnTo>
                    <a:pt x="40496" y="28728"/>
                  </a:lnTo>
                  <a:cubicBezTo>
                    <a:pt x="41135" y="30643"/>
                    <a:pt x="43052" y="31920"/>
                    <a:pt x="45608" y="31920"/>
                  </a:cubicBezTo>
                  <a:lnTo>
                    <a:pt x="53915" y="33197"/>
                  </a:lnTo>
                  <a:lnTo>
                    <a:pt x="48164" y="38942"/>
                  </a:lnTo>
                  <a:cubicBezTo>
                    <a:pt x="45608" y="40857"/>
                    <a:pt x="44969" y="42773"/>
                    <a:pt x="45608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xmlns="" id="{5433522E-C5E5-4F4E-941E-3ACA8B1C68D9}"/>
                </a:ext>
              </a:extLst>
            </p:cNvPr>
            <p:cNvSpPr/>
            <p:nvPr/>
          </p:nvSpPr>
          <p:spPr>
            <a:xfrm>
              <a:off x="2798552" y="1990688"/>
              <a:ext cx="73349" cy="71558"/>
            </a:xfrm>
            <a:custGeom>
              <a:avLst/>
              <a:gdLst>
                <a:gd name="connsiteX0" fmla="*/ 73085 w 73349"/>
                <a:gd name="connsiteY0" fmla="*/ 26813 h 71558"/>
                <a:gd name="connsiteX1" fmla="*/ 67973 w 73349"/>
                <a:gd name="connsiteY1" fmla="*/ 22344 h 71558"/>
                <a:gd name="connsiteX2" fmla="*/ 50081 w 73349"/>
                <a:gd name="connsiteY2" fmla="*/ 19790 h 71558"/>
                <a:gd name="connsiteX3" fmla="*/ 42413 w 73349"/>
                <a:gd name="connsiteY3" fmla="*/ 3830 h 71558"/>
                <a:gd name="connsiteX4" fmla="*/ 36662 w 73349"/>
                <a:gd name="connsiteY4" fmla="*/ 0 h 71558"/>
                <a:gd name="connsiteX5" fmla="*/ 30911 w 73349"/>
                <a:gd name="connsiteY5" fmla="*/ 3830 h 71558"/>
                <a:gd name="connsiteX6" fmla="*/ 23243 w 73349"/>
                <a:gd name="connsiteY6" fmla="*/ 19790 h 71558"/>
                <a:gd name="connsiteX7" fmla="*/ 5352 w 73349"/>
                <a:gd name="connsiteY7" fmla="*/ 22344 h 71558"/>
                <a:gd name="connsiteX8" fmla="*/ 240 w 73349"/>
                <a:gd name="connsiteY8" fmla="*/ 26813 h 71558"/>
                <a:gd name="connsiteX9" fmla="*/ 2157 w 73349"/>
                <a:gd name="connsiteY9" fmla="*/ 33197 h 71558"/>
                <a:gd name="connsiteX10" fmla="*/ 14936 w 73349"/>
                <a:gd name="connsiteY10" fmla="*/ 45965 h 71558"/>
                <a:gd name="connsiteX11" fmla="*/ 11741 w 73349"/>
                <a:gd name="connsiteY11" fmla="*/ 63840 h 71558"/>
                <a:gd name="connsiteX12" fmla="*/ 14298 w 73349"/>
                <a:gd name="connsiteY12" fmla="*/ 70224 h 71558"/>
                <a:gd name="connsiteX13" fmla="*/ 18131 w 73349"/>
                <a:gd name="connsiteY13" fmla="*/ 71500 h 71558"/>
                <a:gd name="connsiteX14" fmla="*/ 21326 w 73349"/>
                <a:gd name="connsiteY14" fmla="*/ 70862 h 71558"/>
                <a:gd name="connsiteX15" fmla="*/ 37301 w 73349"/>
                <a:gd name="connsiteY15" fmla="*/ 62563 h 71558"/>
                <a:gd name="connsiteX16" fmla="*/ 53276 w 73349"/>
                <a:gd name="connsiteY16" fmla="*/ 70862 h 71558"/>
                <a:gd name="connsiteX17" fmla="*/ 60305 w 73349"/>
                <a:gd name="connsiteY17" fmla="*/ 70224 h 71558"/>
                <a:gd name="connsiteX18" fmla="*/ 62861 w 73349"/>
                <a:gd name="connsiteY18" fmla="*/ 63840 h 71558"/>
                <a:gd name="connsiteX19" fmla="*/ 59666 w 73349"/>
                <a:gd name="connsiteY19" fmla="*/ 45965 h 71558"/>
                <a:gd name="connsiteX20" fmla="*/ 72446 w 73349"/>
                <a:gd name="connsiteY20" fmla="*/ 33197 h 71558"/>
                <a:gd name="connsiteX21" fmla="*/ 73085 w 73349"/>
                <a:gd name="connsiteY21" fmla="*/ 26813 h 71558"/>
                <a:gd name="connsiteX22" fmla="*/ 46886 w 73349"/>
                <a:gd name="connsiteY22" fmla="*/ 38942 h 71558"/>
                <a:gd name="connsiteX23" fmla="*/ 44969 w 73349"/>
                <a:gd name="connsiteY23" fmla="*/ 44688 h 71558"/>
                <a:gd name="connsiteX24" fmla="*/ 46247 w 73349"/>
                <a:gd name="connsiteY24" fmla="*/ 52987 h 71558"/>
                <a:gd name="connsiteX25" fmla="*/ 38579 w 73349"/>
                <a:gd name="connsiteY25" fmla="*/ 49157 h 71558"/>
                <a:gd name="connsiteX26" fmla="*/ 32828 w 73349"/>
                <a:gd name="connsiteY26" fmla="*/ 49157 h 71558"/>
                <a:gd name="connsiteX27" fmla="*/ 25160 w 73349"/>
                <a:gd name="connsiteY27" fmla="*/ 52987 h 71558"/>
                <a:gd name="connsiteX28" fmla="*/ 26438 w 73349"/>
                <a:gd name="connsiteY28" fmla="*/ 44688 h 71558"/>
                <a:gd name="connsiteX29" fmla="*/ 24521 w 73349"/>
                <a:gd name="connsiteY29" fmla="*/ 38942 h 71558"/>
                <a:gd name="connsiteX30" fmla="*/ 18770 w 73349"/>
                <a:gd name="connsiteY30" fmla="*/ 33197 h 71558"/>
                <a:gd name="connsiteX31" fmla="*/ 27077 w 73349"/>
                <a:gd name="connsiteY31" fmla="*/ 31920 h 71558"/>
                <a:gd name="connsiteX32" fmla="*/ 32189 w 73349"/>
                <a:gd name="connsiteY32" fmla="*/ 28728 h 71558"/>
                <a:gd name="connsiteX33" fmla="*/ 36023 w 73349"/>
                <a:gd name="connsiteY33" fmla="*/ 21067 h 71558"/>
                <a:gd name="connsiteX34" fmla="*/ 39857 w 73349"/>
                <a:gd name="connsiteY34" fmla="*/ 28728 h 71558"/>
                <a:gd name="connsiteX35" fmla="*/ 44969 w 73349"/>
                <a:gd name="connsiteY35" fmla="*/ 31920 h 71558"/>
                <a:gd name="connsiteX36" fmla="*/ 53276 w 73349"/>
                <a:gd name="connsiteY36" fmla="*/ 33197 h 71558"/>
                <a:gd name="connsiteX37" fmla="*/ 46886 w 73349"/>
                <a:gd name="connsiteY37" fmla="*/ 38942 h 7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49" h="71558">
                  <a:moveTo>
                    <a:pt x="73085" y="26813"/>
                  </a:move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6" y="45965"/>
                  </a:lnTo>
                  <a:lnTo>
                    <a:pt x="11741" y="63840"/>
                  </a:lnTo>
                  <a:cubicBezTo>
                    <a:pt x="11103" y="66393"/>
                    <a:pt x="12380" y="68947"/>
                    <a:pt x="14298" y="70224"/>
                  </a:cubicBezTo>
                  <a:cubicBezTo>
                    <a:pt x="15575" y="70862"/>
                    <a:pt x="16854" y="71500"/>
                    <a:pt x="18131" y="71500"/>
                  </a:cubicBezTo>
                  <a:cubicBezTo>
                    <a:pt x="19409" y="71500"/>
                    <a:pt x="20048" y="71500"/>
                    <a:pt x="21326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5193" y="72139"/>
                    <a:pt x="57749" y="71500"/>
                    <a:pt x="60305" y="70224"/>
                  </a:cubicBezTo>
                  <a:cubicBezTo>
                    <a:pt x="62222" y="68947"/>
                    <a:pt x="63500" y="66393"/>
                    <a:pt x="62861" y="63840"/>
                  </a:cubicBezTo>
                  <a:lnTo>
                    <a:pt x="59666" y="45965"/>
                  </a:lnTo>
                  <a:lnTo>
                    <a:pt x="72446" y="33197"/>
                  </a:lnTo>
                  <a:cubicBezTo>
                    <a:pt x="73085" y="31920"/>
                    <a:pt x="73724" y="29366"/>
                    <a:pt x="73085" y="26813"/>
                  </a:cubicBezTo>
                  <a:close/>
                  <a:moveTo>
                    <a:pt x="46886" y="38942"/>
                  </a:moveTo>
                  <a:cubicBezTo>
                    <a:pt x="45608" y="40219"/>
                    <a:pt x="44969" y="42773"/>
                    <a:pt x="44969" y="44688"/>
                  </a:cubicBezTo>
                  <a:lnTo>
                    <a:pt x="46247" y="52987"/>
                  </a:lnTo>
                  <a:lnTo>
                    <a:pt x="38579" y="49157"/>
                  </a:lnTo>
                  <a:cubicBezTo>
                    <a:pt x="36662" y="47880"/>
                    <a:pt x="34745" y="47880"/>
                    <a:pt x="32828" y="49157"/>
                  </a:cubicBezTo>
                  <a:lnTo>
                    <a:pt x="25160" y="52987"/>
                  </a:lnTo>
                  <a:lnTo>
                    <a:pt x="26438" y="44688"/>
                  </a:lnTo>
                  <a:cubicBezTo>
                    <a:pt x="27077" y="42773"/>
                    <a:pt x="25799" y="40219"/>
                    <a:pt x="24521" y="38942"/>
                  </a:cubicBezTo>
                  <a:lnTo>
                    <a:pt x="18770" y="33197"/>
                  </a:lnTo>
                  <a:lnTo>
                    <a:pt x="27077" y="31920"/>
                  </a:lnTo>
                  <a:cubicBezTo>
                    <a:pt x="28994" y="31920"/>
                    <a:pt x="30911" y="30005"/>
                    <a:pt x="32189" y="28728"/>
                  </a:cubicBezTo>
                  <a:lnTo>
                    <a:pt x="36023" y="21067"/>
                  </a:lnTo>
                  <a:lnTo>
                    <a:pt x="39857" y="28728"/>
                  </a:lnTo>
                  <a:cubicBezTo>
                    <a:pt x="40496" y="30643"/>
                    <a:pt x="42413" y="31920"/>
                    <a:pt x="44969" y="31920"/>
                  </a:cubicBezTo>
                  <a:lnTo>
                    <a:pt x="53276" y="33197"/>
                  </a:lnTo>
                  <a:lnTo>
                    <a:pt x="46886" y="3894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Graphic 4">
              <a:extLst>
                <a:ext uri="{FF2B5EF4-FFF2-40B4-BE49-F238E27FC236}">
                  <a16:creationId xmlns:a16="http://schemas.microsoft.com/office/drawing/2014/main" xmlns="" id="{5AF0E817-9AEE-3A4D-884C-E02A6056EE81}"/>
                </a:ext>
              </a:extLst>
            </p:cNvPr>
            <p:cNvSpPr/>
            <p:nvPr/>
          </p:nvSpPr>
          <p:spPr>
            <a:xfrm>
              <a:off x="2658613" y="2071605"/>
              <a:ext cx="74602" cy="71079"/>
            </a:xfrm>
            <a:custGeom>
              <a:avLst/>
              <a:gdLst>
                <a:gd name="connsiteX0" fmla="*/ 67973 w 74602"/>
                <a:gd name="connsiteY0" fmla="*/ 21865 h 71079"/>
                <a:gd name="connsiteX1" fmla="*/ 50081 w 74602"/>
                <a:gd name="connsiteY1" fmla="*/ 19311 h 71079"/>
                <a:gd name="connsiteX2" fmla="*/ 42413 w 74602"/>
                <a:gd name="connsiteY2" fmla="*/ 3352 h 71079"/>
                <a:gd name="connsiteX3" fmla="*/ 30911 w 74602"/>
                <a:gd name="connsiteY3" fmla="*/ 3352 h 71079"/>
                <a:gd name="connsiteX4" fmla="*/ 23243 w 74602"/>
                <a:gd name="connsiteY4" fmla="*/ 19311 h 71079"/>
                <a:gd name="connsiteX5" fmla="*/ 5352 w 74602"/>
                <a:gd name="connsiteY5" fmla="*/ 21865 h 71079"/>
                <a:gd name="connsiteX6" fmla="*/ 240 w 74602"/>
                <a:gd name="connsiteY6" fmla="*/ 26334 h 71079"/>
                <a:gd name="connsiteX7" fmla="*/ 2157 w 74602"/>
                <a:gd name="connsiteY7" fmla="*/ 32718 h 71079"/>
                <a:gd name="connsiteX8" fmla="*/ 14936 w 74602"/>
                <a:gd name="connsiteY8" fmla="*/ 45486 h 71079"/>
                <a:gd name="connsiteX9" fmla="*/ 11741 w 74602"/>
                <a:gd name="connsiteY9" fmla="*/ 63361 h 71079"/>
                <a:gd name="connsiteX10" fmla="*/ 14297 w 74602"/>
                <a:gd name="connsiteY10" fmla="*/ 69745 h 71079"/>
                <a:gd name="connsiteX11" fmla="*/ 18131 w 74602"/>
                <a:gd name="connsiteY11" fmla="*/ 71022 h 71079"/>
                <a:gd name="connsiteX12" fmla="*/ 21326 w 74602"/>
                <a:gd name="connsiteY12" fmla="*/ 70383 h 71079"/>
                <a:gd name="connsiteX13" fmla="*/ 37301 w 74602"/>
                <a:gd name="connsiteY13" fmla="*/ 62084 h 71079"/>
                <a:gd name="connsiteX14" fmla="*/ 53276 w 74602"/>
                <a:gd name="connsiteY14" fmla="*/ 70383 h 71079"/>
                <a:gd name="connsiteX15" fmla="*/ 60305 w 74602"/>
                <a:gd name="connsiteY15" fmla="*/ 69745 h 71079"/>
                <a:gd name="connsiteX16" fmla="*/ 62861 w 74602"/>
                <a:gd name="connsiteY16" fmla="*/ 63361 h 71079"/>
                <a:gd name="connsiteX17" fmla="*/ 59666 w 74602"/>
                <a:gd name="connsiteY17" fmla="*/ 45486 h 71079"/>
                <a:gd name="connsiteX18" fmla="*/ 72446 w 74602"/>
                <a:gd name="connsiteY18" fmla="*/ 32718 h 71079"/>
                <a:gd name="connsiteX19" fmla="*/ 74363 w 74602"/>
                <a:gd name="connsiteY19" fmla="*/ 26334 h 71079"/>
                <a:gd name="connsiteX20" fmla="*/ 67973 w 74602"/>
                <a:gd name="connsiteY20" fmla="*/ 21865 h 71079"/>
                <a:gd name="connsiteX21" fmla="*/ 47525 w 74602"/>
                <a:gd name="connsiteY21" fmla="*/ 38463 h 71079"/>
                <a:gd name="connsiteX22" fmla="*/ 45608 w 74602"/>
                <a:gd name="connsiteY22" fmla="*/ 44209 h 71079"/>
                <a:gd name="connsiteX23" fmla="*/ 46886 w 74602"/>
                <a:gd name="connsiteY23" fmla="*/ 52508 h 71079"/>
                <a:gd name="connsiteX24" fmla="*/ 39218 w 74602"/>
                <a:gd name="connsiteY24" fmla="*/ 48678 h 71079"/>
                <a:gd name="connsiteX25" fmla="*/ 36023 w 74602"/>
                <a:gd name="connsiteY25" fmla="*/ 48039 h 71079"/>
                <a:gd name="connsiteX26" fmla="*/ 32828 w 74602"/>
                <a:gd name="connsiteY26" fmla="*/ 48678 h 71079"/>
                <a:gd name="connsiteX27" fmla="*/ 25160 w 74602"/>
                <a:gd name="connsiteY27" fmla="*/ 52508 h 71079"/>
                <a:gd name="connsiteX28" fmla="*/ 26438 w 74602"/>
                <a:gd name="connsiteY28" fmla="*/ 44209 h 71079"/>
                <a:gd name="connsiteX29" fmla="*/ 24521 w 74602"/>
                <a:gd name="connsiteY29" fmla="*/ 38463 h 71079"/>
                <a:gd name="connsiteX30" fmla="*/ 18770 w 74602"/>
                <a:gd name="connsiteY30" fmla="*/ 32718 h 71079"/>
                <a:gd name="connsiteX31" fmla="*/ 27077 w 74602"/>
                <a:gd name="connsiteY31" fmla="*/ 31441 h 71079"/>
                <a:gd name="connsiteX32" fmla="*/ 32189 w 74602"/>
                <a:gd name="connsiteY32" fmla="*/ 28249 h 71079"/>
                <a:gd name="connsiteX33" fmla="*/ 36023 w 74602"/>
                <a:gd name="connsiteY33" fmla="*/ 20588 h 71079"/>
                <a:gd name="connsiteX34" fmla="*/ 39857 w 74602"/>
                <a:gd name="connsiteY34" fmla="*/ 28249 h 71079"/>
                <a:gd name="connsiteX35" fmla="*/ 44969 w 74602"/>
                <a:gd name="connsiteY35" fmla="*/ 31441 h 71079"/>
                <a:gd name="connsiteX36" fmla="*/ 53276 w 74602"/>
                <a:gd name="connsiteY36" fmla="*/ 32718 h 71079"/>
                <a:gd name="connsiteX37" fmla="*/ 47525 w 74602"/>
                <a:gd name="connsiteY37" fmla="*/ 38463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4602" h="71079">
                  <a:moveTo>
                    <a:pt x="67973" y="21865"/>
                  </a:moveTo>
                  <a:lnTo>
                    <a:pt x="50081" y="19311"/>
                  </a:lnTo>
                  <a:lnTo>
                    <a:pt x="42413" y="3352"/>
                  </a:lnTo>
                  <a:cubicBezTo>
                    <a:pt x="40496" y="-1117"/>
                    <a:pt x="32828" y="-1117"/>
                    <a:pt x="30911" y="3352"/>
                  </a:cubicBezTo>
                  <a:lnTo>
                    <a:pt x="23243" y="19311"/>
                  </a:lnTo>
                  <a:lnTo>
                    <a:pt x="5352" y="21865"/>
                  </a:lnTo>
                  <a:cubicBezTo>
                    <a:pt x="2796" y="22503"/>
                    <a:pt x="879" y="23780"/>
                    <a:pt x="240" y="26334"/>
                  </a:cubicBezTo>
                  <a:cubicBezTo>
                    <a:pt x="-399" y="28887"/>
                    <a:pt x="240" y="31441"/>
                    <a:pt x="2157" y="32718"/>
                  </a:cubicBezTo>
                  <a:lnTo>
                    <a:pt x="14936" y="45486"/>
                  </a:lnTo>
                  <a:lnTo>
                    <a:pt x="11741" y="63361"/>
                  </a:lnTo>
                  <a:cubicBezTo>
                    <a:pt x="11102" y="65915"/>
                    <a:pt x="12380" y="68468"/>
                    <a:pt x="14297" y="69745"/>
                  </a:cubicBezTo>
                  <a:cubicBezTo>
                    <a:pt x="15575" y="70383"/>
                    <a:pt x="16854" y="71022"/>
                    <a:pt x="18131" y="71022"/>
                  </a:cubicBezTo>
                  <a:cubicBezTo>
                    <a:pt x="19409" y="71022"/>
                    <a:pt x="20048" y="71022"/>
                    <a:pt x="21326" y="70383"/>
                  </a:cubicBezTo>
                  <a:lnTo>
                    <a:pt x="37301" y="62084"/>
                  </a:lnTo>
                  <a:lnTo>
                    <a:pt x="53276" y="70383"/>
                  </a:lnTo>
                  <a:cubicBezTo>
                    <a:pt x="55193" y="71660"/>
                    <a:pt x="57749" y="71022"/>
                    <a:pt x="60305" y="69745"/>
                  </a:cubicBezTo>
                  <a:cubicBezTo>
                    <a:pt x="62222" y="68468"/>
                    <a:pt x="63500" y="65915"/>
                    <a:pt x="62861" y="63361"/>
                  </a:cubicBezTo>
                  <a:lnTo>
                    <a:pt x="59666" y="45486"/>
                  </a:lnTo>
                  <a:lnTo>
                    <a:pt x="72446" y="32718"/>
                  </a:lnTo>
                  <a:cubicBezTo>
                    <a:pt x="74363" y="30803"/>
                    <a:pt x="75002" y="28249"/>
                    <a:pt x="74363" y="26334"/>
                  </a:cubicBezTo>
                  <a:cubicBezTo>
                    <a:pt x="72446" y="23780"/>
                    <a:pt x="70529" y="22503"/>
                    <a:pt x="67973" y="21865"/>
                  </a:cubicBezTo>
                  <a:close/>
                  <a:moveTo>
                    <a:pt x="47525" y="38463"/>
                  </a:moveTo>
                  <a:cubicBezTo>
                    <a:pt x="46247" y="39740"/>
                    <a:pt x="45608" y="42294"/>
                    <a:pt x="45608" y="44209"/>
                  </a:cubicBezTo>
                  <a:lnTo>
                    <a:pt x="46886" y="52508"/>
                  </a:lnTo>
                  <a:lnTo>
                    <a:pt x="39218" y="48678"/>
                  </a:lnTo>
                  <a:cubicBezTo>
                    <a:pt x="38579" y="48039"/>
                    <a:pt x="37301" y="48039"/>
                    <a:pt x="36023" y="48039"/>
                  </a:cubicBezTo>
                  <a:cubicBezTo>
                    <a:pt x="34745" y="48039"/>
                    <a:pt x="34106" y="48039"/>
                    <a:pt x="32828" y="48678"/>
                  </a:cubicBezTo>
                  <a:lnTo>
                    <a:pt x="25160" y="52508"/>
                  </a:lnTo>
                  <a:lnTo>
                    <a:pt x="26438" y="44209"/>
                  </a:lnTo>
                  <a:cubicBezTo>
                    <a:pt x="27077" y="42294"/>
                    <a:pt x="25799" y="39740"/>
                    <a:pt x="24521" y="38463"/>
                  </a:cubicBezTo>
                  <a:lnTo>
                    <a:pt x="18770" y="32718"/>
                  </a:lnTo>
                  <a:lnTo>
                    <a:pt x="27077" y="31441"/>
                  </a:lnTo>
                  <a:cubicBezTo>
                    <a:pt x="28994" y="31441"/>
                    <a:pt x="30911" y="29526"/>
                    <a:pt x="32189" y="28249"/>
                  </a:cubicBezTo>
                  <a:lnTo>
                    <a:pt x="36023" y="20588"/>
                  </a:lnTo>
                  <a:lnTo>
                    <a:pt x="39857" y="28249"/>
                  </a:lnTo>
                  <a:cubicBezTo>
                    <a:pt x="40496" y="30164"/>
                    <a:pt x="42413" y="31441"/>
                    <a:pt x="44969" y="31441"/>
                  </a:cubicBezTo>
                  <a:lnTo>
                    <a:pt x="53276" y="32718"/>
                  </a:lnTo>
                  <a:lnTo>
                    <a:pt x="47525" y="384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Graphic 4">
              <a:extLst>
                <a:ext uri="{FF2B5EF4-FFF2-40B4-BE49-F238E27FC236}">
                  <a16:creationId xmlns:a16="http://schemas.microsoft.com/office/drawing/2014/main" xmlns="" id="{90A4417B-D2EB-1B4A-9A5A-62C849BEA18A}"/>
                </a:ext>
              </a:extLst>
            </p:cNvPr>
            <p:cNvSpPr/>
            <p:nvPr/>
          </p:nvSpPr>
          <p:spPr>
            <a:xfrm>
              <a:off x="2751906" y="2071605"/>
              <a:ext cx="74602" cy="71079"/>
            </a:xfrm>
            <a:custGeom>
              <a:avLst/>
              <a:gdLst>
                <a:gd name="connsiteX0" fmla="*/ 67973 w 74602"/>
                <a:gd name="connsiteY0" fmla="*/ 21865 h 71079"/>
                <a:gd name="connsiteX1" fmla="*/ 50081 w 74602"/>
                <a:gd name="connsiteY1" fmla="*/ 19311 h 71079"/>
                <a:gd name="connsiteX2" fmla="*/ 42413 w 74602"/>
                <a:gd name="connsiteY2" fmla="*/ 3352 h 71079"/>
                <a:gd name="connsiteX3" fmla="*/ 30911 w 74602"/>
                <a:gd name="connsiteY3" fmla="*/ 3352 h 71079"/>
                <a:gd name="connsiteX4" fmla="*/ 23243 w 74602"/>
                <a:gd name="connsiteY4" fmla="*/ 19311 h 71079"/>
                <a:gd name="connsiteX5" fmla="*/ 5352 w 74602"/>
                <a:gd name="connsiteY5" fmla="*/ 21865 h 71079"/>
                <a:gd name="connsiteX6" fmla="*/ 240 w 74602"/>
                <a:gd name="connsiteY6" fmla="*/ 26334 h 71079"/>
                <a:gd name="connsiteX7" fmla="*/ 2157 w 74602"/>
                <a:gd name="connsiteY7" fmla="*/ 32718 h 71079"/>
                <a:gd name="connsiteX8" fmla="*/ 14936 w 74602"/>
                <a:gd name="connsiteY8" fmla="*/ 45486 h 71079"/>
                <a:gd name="connsiteX9" fmla="*/ 11741 w 74602"/>
                <a:gd name="connsiteY9" fmla="*/ 63361 h 71079"/>
                <a:gd name="connsiteX10" fmla="*/ 14297 w 74602"/>
                <a:gd name="connsiteY10" fmla="*/ 69745 h 71079"/>
                <a:gd name="connsiteX11" fmla="*/ 18131 w 74602"/>
                <a:gd name="connsiteY11" fmla="*/ 71022 h 71079"/>
                <a:gd name="connsiteX12" fmla="*/ 21326 w 74602"/>
                <a:gd name="connsiteY12" fmla="*/ 70383 h 71079"/>
                <a:gd name="connsiteX13" fmla="*/ 37301 w 74602"/>
                <a:gd name="connsiteY13" fmla="*/ 62084 h 71079"/>
                <a:gd name="connsiteX14" fmla="*/ 53276 w 74602"/>
                <a:gd name="connsiteY14" fmla="*/ 70383 h 71079"/>
                <a:gd name="connsiteX15" fmla="*/ 60305 w 74602"/>
                <a:gd name="connsiteY15" fmla="*/ 69745 h 71079"/>
                <a:gd name="connsiteX16" fmla="*/ 62861 w 74602"/>
                <a:gd name="connsiteY16" fmla="*/ 63361 h 71079"/>
                <a:gd name="connsiteX17" fmla="*/ 59666 w 74602"/>
                <a:gd name="connsiteY17" fmla="*/ 45486 h 71079"/>
                <a:gd name="connsiteX18" fmla="*/ 72446 w 74602"/>
                <a:gd name="connsiteY18" fmla="*/ 32718 h 71079"/>
                <a:gd name="connsiteX19" fmla="*/ 74363 w 74602"/>
                <a:gd name="connsiteY19" fmla="*/ 26334 h 71079"/>
                <a:gd name="connsiteX20" fmla="*/ 67973 w 74602"/>
                <a:gd name="connsiteY20" fmla="*/ 21865 h 71079"/>
                <a:gd name="connsiteX21" fmla="*/ 46886 w 74602"/>
                <a:gd name="connsiteY21" fmla="*/ 38463 h 71079"/>
                <a:gd name="connsiteX22" fmla="*/ 44969 w 74602"/>
                <a:gd name="connsiteY22" fmla="*/ 44209 h 71079"/>
                <a:gd name="connsiteX23" fmla="*/ 46247 w 74602"/>
                <a:gd name="connsiteY23" fmla="*/ 52508 h 71079"/>
                <a:gd name="connsiteX24" fmla="*/ 38579 w 74602"/>
                <a:gd name="connsiteY24" fmla="*/ 48678 h 71079"/>
                <a:gd name="connsiteX25" fmla="*/ 35384 w 74602"/>
                <a:gd name="connsiteY25" fmla="*/ 48039 h 71079"/>
                <a:gd name="connsiteX26" fmla="*/ 32189 w 74602"/>
                <a:gd name="connsiteY26" fmla="*/ 48678 h 71079"/>
                <a:gd name="connsiteX27" fmla="*/ 24521 w 74602"/>
                <a:gd name="connsiteY27" fmla="*/ 52508 h 71079"/>
                <a:gd name="connsiteX28" fmla="*/ 25799 w 74602"/>
                <a:gd name="connsiteY28" fmla="*/ 44209 h 71079"/>
                <a:gd name="connsiteX29" fmla="*/ 23882 w 74602"/>
                <a:gd name="connsiteY29" fmla="*/ 38463 h 71079"/>
                <a:gd name="connsiteX30" fmla="*/ 18131 w 74602"/>
                <a:gd name="connsiteY30" fmla="*/ 32718 h 71079"/>
                <a:gd name="connsiteX31" fmla="*/ 26438 w 74602"/>
                <a:gd name="connsiteY31" fmla="*/ 31441 h 71079"/>
                <a:gd name="connsiteX32" fmla="*/ 31550 w 74602"/>
                <a:gd name="connsiteY32" fmla="*/ 28249 h 71079"/>
                <a:gd name="connsiteX33" fmla="*/ 35384 w 74602"/>
                <a:gd name="connsiteY33" fmla="*/ 20588 h 71079"/>
                <a:gd name="connsiteX34" fmla="*/ 39218 w 74602"/>
                <a:gd name="connsiteY34" fmla="*/ 28249 h 71079"/>
                <a:gd name="connsiteX35" fmla="*/ 44330 w 74602"/>
                <a:gd name="connsiteY35" fmla="*/ 31441 h 71079"/>
                <a:gd name="connsiteX36" fmla="*/ 52637 w 74602"/>
                <a:gd name="connsiteY36" fmla="*/ 32718 h 71079"/>
                <a:gd name="connsiteX37" fmla="*/ 46886 w 74602"/>
                <a:gd name="connsiteY37" fmla="*/ 38463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4602" h="71079">
                  <a:moveTo>
                    <a:pt x="67973" y="21865"/>
                  </a:moveTo>
                  <a:lnTo>
                    <a:pt x="50081" y="19311"/>
                  </a:lnTo>
                  <a:lnTo>
                    <a:pt x="42413" y="3352"/>
                  </a:lnTo>
                  <a:cubicBezTo>
                    <a:pt x="40496" y="-1117"/>
                    <a:pt x="32828" y="-1117"/>
                    <a:pt x="30911" y="3352"/>
                  </a:cubicBezTo>
                  <a:lnTo>
                    <a:pt x="23243" y="19311"/>
                  </a:lnTo>
                  <a:lnTo>
                    <a:pt x="5352" y="21865"/>
                  </a:lnTo>
                  <a:cubicBezTo>
                    <a:pt x="2796" y="22503"/>
                    <a:pt x="878" y="23780"/>
                    <a:pt x="240" y="26334"/>
                  </a:cubicBezTo>
                  <a:cubicBezTo>
                    <a:pt x="-399" y="28887"/>
                    <a:pt x="240" y="31441"/>
                    <a:pt x="2157" y="32718"/>
                  </a:cubicBezTo>
                  <a:lnTo>
                    <a:pt x="14936" y="45486"/>
                  </a:lnTo>
                  <a:lnTo>
                    <a:pt x="11741" y="63361"/>
                  </a:lnTo>
                  <a:cubicBezTo>
                    <a:pt x="11102" y="65915"/>
                    <a:pt x="12380" y="68468"/>
                    <a:pt x="14297" y="69745"/>
                  </a:cubicBezTo>
                  <a:cubicBezTo>
                    <a:pt x="15575" y="70383"/>
                    <a:pt x="16853" y="71022"/>
                    <a:pt x="18131" y="71022"/>
                  </a:cubicBezTo>
                  <a:cubicBezTo>
                    <a:pt x="19409" y="71022"/>
                    <a:pt x="20048" y="71022"/>
                    <a:pt x="21326" y="70383"/>
                  </a:cubicBezTo>
                  <a:lnTo>
                    <a:pt x="37301" y="62084"/>
                  </a:lnTo>
                  <a:lnTo>
                    <a:pt x="53276" y="70383"/>
                  </a:lnTo>
                  <a:cubicBezTo>
                    <a:pt x="55193" y="71660"/>
                    <a:pt x="57749" y="71022"/>
                    <a:pt x="60305" y="69745"/>
                  </a:cubicBezTo>
                  <a:cubicBezTo>
                    <a:pt x="62222" y="68468"/>
                    <a:pt x="63500" y="65915"/>
                    <a:pt x="62861" y="63361"/>
                  </a:cubicBezTo>
                  <a:lnTo>
                    <a:pt x="59666" y="45486"/>
                  </a:lnTo>
                  <a:lnTo>
                    <a:pt x="72446" y="32718"/>
                  </a:lnTo>
                  <a:cubicBezTo>
                    <a:pt x="74363" y="30803"/>
                    <a:pt x="75002" y="28249"/>
                    <a:pt x="74363" y="26334"/>
                  </a:cubicBezTo>
                  <a:cubicBezTo>
                    <a:pt x="72446" y="23780"/>
                    <a:pt x="69890" y="22503"/>
                    <a:pt x="67973" y="21865"/>
                  </a:cubicBezTo>
                  <a:close/>
                  <a:moveTo>
                    <a:pt x="46886" y="38463"/>
                  </a:moveTo>
                  <a:cubicBezTo>
                    <a:pt x="45608" y="39740"/>
                    <a:pt x="44969" y="42294"/>
                    <a:pt x="44969" y="44209"/>
                  </a:cubicBezTo>
                  <a:lnTo>
                    <a:pt x="46247" y="52508"/>
                  </a:lnTo>
                  <a:lnTo>
                    <a:pt x="38579" y="48678"/>
                  </a:lnTo>
                  <a:cubicBezTo>
                    <a:pt x="37940" y="48039"/>
                    <a:pt x="36662" y="48039"/>
                    <a:pt x="35384" y="48039"/>
                  </a:cubicBezTo>
                  <a:cubicBezTo>
                    <a:pt x="34106" y="48039"/>
                    <a:pt x="33467" y="48039"/>
                    <a:pt x="32189" y="48678"/>
                  </a:cubicBezTo>
                  <a:lnTo>
                    <a:pt x="24521" y="52508"/>
                  </a:lnTo>
                  <a:lnTo>
                    <a:pt x="25799" y="44209"/>
                  </a:lnTo>
                  <a:cubicBezTo>
                    <a:pt x="26438" y="42294"/>
                    <a:pt x="25160" y="39740"/>
                    <a:pt x="23882" y="38463"/>
                  </a:cubicBezTo>
                  <a:lnTo>
                    <a:pt x="18131" y="32718"/>
                  </a:lnTo>
                  <a:lnTo>
                    <a:pt x="26438" y="31441"/>
                  </a:lnTo>
                  <a:cubicBezTo>
                    <a:pt x="28355" y="31441"/>
                    <a:pt x="30272" y="29526"/>
                    <a:pt x="31550" y="28249"/>
                  </a:cubicBezTo>
                  <a:lnTo>
                    <a:pt x="35384" y="20588"/>
                  </a:lnTo>
                  <a:lnTo>
                    <a:pt x="39218" y="28249"/>
                  </a:lnTo>
                  <a:cubicBezTo>
                    <a:pt x="39857" y="30164"/>
                    <a:pt x="41774" y="31441"/>
                    <a:pt x="44330" y="31441"/>
                  </a:cubicBezTo>
                  <a:lnTo>
                    <a:pt x="52637" y="32718"/>
                  </a:lnTo>
                  <a:lnTo>
                    <a:pt x="46886" y="384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A7A9F869-97C7-9944-ADF6-8A0099A55613}"/>
              </a:ext>
            </a:extLst>
          </p:cNvPr>
          <p:cNvGrpSpPr/>
          <p:nvPr/>
        </p:nvGrpSpPr>
        <p:grpSpPr>
          <a:xfrm>
            <a:off x="440886" y="3934051"/>
            <a:ext cx="720000" cy="720000"/>
            <a:chOff x="1515054" y="1402723"/>
            <a:chExt cx="362309" cy="361971"/>
          </a:xfrm>
          <a:solidFill>
            <a:schemeClr val="bg1"/>
          </a:solidFill>
        </p:grpSpPr>
        <p:sp>
          <p:nvSpPr>
            <p:cNvPr id="31" name="Graphic 4">
              <a:extLst>
                <a:ext uri="{FF2B5EF4-FFF2-40B4-BE49-F238E27FC236}">
                  <a16:creationId xmlns:a16="http://schemas.microsoft.com/office/drawing/2014/main" xmlns="" id="{3E325024-09C8-8144-96C2-DDF094542BCC}"/>
                </a:ext>
              </a:extLst>
            </p:cNvPr>
            <p:cNvSpPr/>
            <p:nvPr/>
          </p:nvSpPr>
          <p:spPr>
            <a:xfrm>
              <a:off x="15150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180835 w 362309"/>
                <a:gd name="connsiteY6" fmla="*/ 0 h 361971"/>
                <a:gd name="connsiteX7" fmla="*/ 180835 w 362309"/>
                <a:gd name="connsiteY7" fmla="*/ 348565 h 361971"/>
                <a:gd name="connsiteX8" fmla="*/ 12780 w 362309"/>
                <a:gd name="connsiteY8" fmla="*/ 180028 h 361971"/>
                <a:gd name="connsiteX9" fmla="*/ 180835 w 362309"/>
                <a:gd name="connsiteY9" fmla="*/ 12130 h 361971"/>
                <a:gd name="connsiteX10" fmla="*/ 349529 w 362309"/>
                <a:gd name="connsiteY10" fmla="*/ 180028 h 361971"/>
                <a:gd name="connsiteX11" fmla="*/ 180835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8181" y="12130"/>
                    <a:pt x="180835" y="12130"/>
                  </a:cubicBezTo>
                  <a:cubicBezTo>
                    <a:pt x="274128" y="12130"/>
                    <a:pt x="349529" y="87461"/>
                    <a:pt x="349529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xmlns="" id="{14CCE534-2C2E-2D43-B5DF-5462C525B6EB}"/>
                </a:ext>
              </a:extLst>
            </p:cNvPr>
            <p:cNvSpPr/>
            <p:nvPr/>
          </p:nvSpPr>
          <p:spPr>
            <a:xfrm>
              <a:off x="1579592" y="1458902"/>
              <a:ext cx="232036" cy="222800"/>
            </a:xfrm>
            <a:custGeom>
              <a:avLst/>
              <a:gdLst>
                <a:gd name="connsiteX0" fmla="*/ 225565 w 232036"/>
                <a:gd name="connsiteY0" fmla="*/ 194711 h 222800"/>
                <a:gd name="connsiteX1" fmla="*/ 219175 w 232036"/>
                <a:gd name="connsiteY1" fmla="*/ 194711 h 222800"/>
                <a:gd name="connsiteX2" fmla="*/ 219175 w 232036"/>
                <a:gd name="connsiteY2" fmla="*/ 74054 h 222800"/>
                <a:gd name="connsiteX3" fmla="*/ 200644 w 232036"/>
                <a:gd name="connsiteY3" fmla="*/ 55541 h 222800"/>
                <a:gd name="connsiteX4" fmla="*/ 200644 w 232036"/>
                <a:gd name="connsiteY4" fmla="*/ 55541 h 222800"/>
                <a:gd name="connsiteX5" fmla="*/ 189781 w 232036"/>
                <a:gd name="connsiteY5" fmla="*/ 55541 h 222800"/>
                <a:gd name="connsiteX6" fmla="*/ 178279 w 232036"/>
                <a:gd name="connsiteY6" fmla="*/ 3830 h 222800"/>
                <a:gd name="connsiteX7" fmla="*/ 171889 w 232036"/>
                <a:gd name="connsiteY7" fmla="*/ 0 h 222800"/>
                <a:gd name="connsiteX8" fmla="*/ 93932 w 232036"/>
                <a:gd name="connsiteY8" fmla="*/ 54902 h 222800"/>
                <a:gd name="connsiteX9" fmla="*/ 31311 w 232036"/>
                <a:gd name="connsiteY9" fmla="*/ 54902 h 222800"/>
                <a:gd name="connsiteX10" fmla="*/ 12780 w 232036"/>
                <a:gd name="connsiteY10" fmla="*/ 73416 h 222800"/>
                <a:gd name="connsiteX11" fmla="*/ 12780 w 232036"/>
                <a:gd name="connsiteY11" fmla="*/ 73416 h 222800"/>
                <a:gd name="connsiteX12" fmla="*/ 12780 w 232036"/>
                <a:gd name="connsiteY12" fmla="*/ 194073 h 222800"/>
                <a:gd name="connsiteX13" fmla="*/ 6390 w 232036"/>
                <a:gd name="connsiteY13" fmla="*/ 194073 h 222800"/>
                <a:gd name="connsiteX14" fmla="*/ 0 w 232036"/>
                <a:gd name="connsiteY14" fmla="*/ 200457 h 222800"/>
                <a:gd name="connsiteX15" fmla="*/ 22365 w 232036"/>
                <a:gd name="connsiteY15" fmla="*/ 222801 h 222800"/>
                <a:gd name="connsiteX16" fmla="*/ 209590 w 232036"/>
                <a:gd name="connsiteY16" fmla="*/ 222801 h 222800"/>
                <a:gd name="connsiteX17" fmla="*/ 231955 w 232036"/>
                <a:gd name="connsiteY17" fmla="*/ 200457 h 222800"/>
                <a:gd name="connsiteX18" fmla="*/ 225565 w 232036"/>
                <a:gd name="connsiteY18" fmla="*/ 194711 h 222800"/>
                <a:gd name="connsiteX19" fmla="*/ 225565 w 232036"/>
                <a:gd name="connsiteY19" fmla="*/ 194711 h 222800"/>
                <a:gd name="connsiteX20" fmla="*/ 168694 w 232036"/>
                <a:gd name="connsiteY20" fmla="*/ 13406 h 222800"/>
                <a:gd name="connsiteX21" fmla="*/ 162304 w 232036"/>
                <a:gd name="connsiteY21" fmla="*/ 118104 h 222800"/>
                <a:gd name="connsiteX22" fmla="*/ 162304 w 232036"/>
                <a:gd name="connsiteY22" fmla="*/ 123849 h 222800"/>
                <a:gd name="connsiteX23" fmla="*/ 159110 w 232036"/>
                <a:gd name="connsiteY23" fmla="*/ 171729 h 222800"/>
                <a:gd name="connsiteX24" fmla="*/ 125882 w 232036"/>
                <a:gd name="connsiteY24" fmla="*/ 156408 h 222800"/>
                <a:gd name="connsiteX25" fmla="*/ 123326 w 232036"/>
                <a:gd name="connsiteY25" fmla="*/ 155769 h 222800"/>
                <a:gd name="connsiteX26" fmla="*/ 118214 w 232036"/>
                <a:gd name="connsiteY26" fmla="*/ 158323 h 222800"/>
                <a:gd name="connsiteX27" fmla="*/ 95849 w 232036"/>
                <a:gd name="connsiteY27" fmla="*/ 165345 h 222800"/>
                <a:gd name="connsiteX28" fmla="*/ 86264 w 232036"/>
                <a:gd name="connsiteY28" fmla="*/ 141724 h 222800"/>
                <a:gd name="connsiteX29" fmla="*/ 82430 w 232036"/>
                <a:gd name="connsiteY29" fmla="*/ 134702 h 222800"/>
                <a:gd name="connsiteX30" fmla="*/ 49842 w 232036"/>
                <a:gd name="connsiteY30" fmla="*/ 119381 h 222800"/>
                <a:gd name="connsiteX31" fmla="*/ 84986 w 232036"/>
                <a:gd name="connsiteY31" fmla="*/ 89376 h 222800"/>
                <a:gd name="connsiteX32" fmla="*/ 90737 w 232036"/>
                <a:gd name="connsiteY32" fmla="*/ 85545 h 222800"/>
                <a:gd name="connsiteX33" fmla="*/ 100322 w 232036"/>
                <a:gd name="connsiteY33" fmla="*/ 67032 h 222800"/>
                <a:gd name="connsiteX34" fmla="*/ 102878 w 232036"/>
                <a:gd name="connsiteY34" fmla="*/ 63201 h 222800"/>
                <a:gd name="connsiteX35" fmla="*/ 168694 w 232036"/>
                <a:gd name="connsiteY35" fmla="*/ 13406 h 222800"/>
                <a:gd name="connsiteX36" fmla="*/ 25560 w 232036"/>
                <a:gd name="connsiteY36" fmla="*/ 73416 h 222800"/>
                <a:gd name="connsiteX37" fmla="*/ 31311 w 232036"/>
                <a:gd name="connsiteY37" fmla="*/ 67670 h 222800"/>
                <a:gd name="connsiteX38" fmla="*/ 31311 w 232036"/>
                <a:gd name="connsiteY38" fmla="*/ 67670 h 222800"/>
                <a:gd name="connsiteX39" fmla="*/ 86264 w 232036"/>
                <a:gd name="connsiteY39" fmla="*/ 67670 h 222800"/>
                <a:gd name="connsiteX40" fmla="*/ 82430 w 232036"/>
                <a:gd name="connsiteY40" fmla="*/ 75969 h 222800"/>
                <a:gd name="connsiteX41" fmla="*/ 37701 w 232036"/>
                <a:gd name="connsiteY41" fmla="*/ 120657 h 222800"/>
                <a:gd name="connsiteX42" fmla="*/ 41535 w 232036"/>
                <a:gd name="connsiteY42" fmla="*/ 127680 h 222800"/>
                <a:gd name="connsiteX43" fmla="*/ 74762 w 232036"/>
                <a:gd name="connsiteY43" fmla="*/ 143640 h 222800"/>
                <a:gd name="connsiteX44" fmla="*/ 92015 w 232036"/>
                <a:gd name="connsiteY44" fmla="*/ 176198 h 222800"/>
                <a:gd name="connsiteX45" fmla="*/ 125882 w 232036"/>
                <a:gd name="connsiteY45" fmla="*/ 169176 h 222800"/>
                <a:gd name="connsiteX46" fmla="*/ 159749 w 232036"/>
                <a:gd name="connsiteY46" fmla="*/ 185135 h 222800"/>
                <a:gd name="connsiteX47" fmla="*/ 162304 w 232036"/>
                <a:gd name="connsiteY47" fmla="*/ 185774 h 222800"/>
                <a:gd name="connsiteX48" fmla="*/ 167416 w 232036"/>
                <a:gd name="connsiteY48" fmla="*/ 183220 h 222800"/>
                <a:gd name="connsiteX49" fmla="*/ 176362 w 232036"/>
                <a:gd name="connsiteY49" fmla="*/ 120657 h 222800"/>
                <a:gd name="connsiteX50" fmla="*/ 190420 w 232036"/>
                <a:gd name="connsiteY50" fmla="*/ 67670 h 222800"/>
                <a:gd name="connsiteX51" fmla="*/ 201922 w 232036"/>
                <a:gd name="connsiteY51" fmla="*/ 67670 h 222800"/>
                <a:gd name="connsiteX52" fmla="*/ 207673 w 232036"/>
                <a:gd name="connsiteY52" fmla="*/ 73416 h 222800"/>
                <a:gd name="connsiteX53" fmla="*/ 207673 w 232036"/>
                <a:gd name="connsiteY53" fmla="*/ 73416 h 222800"/>
                <a:gd name="connsiteX54" fmla="*/ 207673 w 232036"/>
                <a:gd name="connsiteY54" fmla="*/ 194073 h 222800"/>
                <a:gd name="connsiteX55" fmla="*/ 26838 w 232036"/>
                <a:gd name="connsiteY55" fmla="*/ 194073 h 222800"/>
                <a:gd name="connsiteX56" fmla="*/ 25560 w 232036"/>
                <a:gd name="connsiteY56" fmla="*/ 73416 h 222800"/>
                <a:gd name="connsiteX57" fmla="*/ 209590 w 232036"/>
                <a:gd name="connsiteY57" fmla="*/ 210033 h 222800"/>
                <a:gd name="connsiteX58" fmla="*/ 22365 w 232036"/>
                <a:gd name="connsiteY58" fmla="*/ 210033 h 222800"/>
                <a:gd name="connsiteX59" fmla="*/ 15336 w 232036"/>
                <a:gd name="connsiteY59" fmla="*/ 206841 h 222800"/>
                <a:gd name="connsiteX60" fmla="*/ 216619 w 232036"/>
                <a:gd name="connsiteY60" fmla="*/ 206841 h 222800"/>
                <a:gd name="connsiteX61" fmla="*/ 209590 w 232036"/>
                <a:gd name="connsiteY61" fmla="*/ 210033 h 222800"/>
                <a:gd name="connsiteX62" fmla="*/ 209590 w 232036"/>
                <a:gd name="connsiteY62" fmla="*/ 210033 h 2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2036" h="222800">
                  <a:moveTo>
                    <a:pt x="225565" y="194711"/>
                  </a:moveTo>
                  <a:lnTo>
                    <a:pt x="219175" y="194711"/>
                  </a:lnTo>
                  <a:lnTo>
                    <a:pt x="219175" y="74054"/>
                  </a:lnTo>
                  <a:cubicBezTo>
                    <a:pt x="219175" y="63840"/>
                    <a:pt x="210868" y="55541"/>
                    <a:pt x="200644" y="55541"/>
                  </a:cubicBezTo>
                  <a:cubicBezTo>
                    <a:pt x="200644" y="55541"/>
                    <a:pt x="200644" y="55541"/>
                    <a:pt x="200644" y="55541"/>
                  </a:cubicBezTo>
                  <a:lnTo>
                    <a:pt x="189781" y="55541"/>
                  </a:lnTo>
                  <a:cubicBezTo>
                    <a:pt x="189781" y="37666"/>
                    <a:pt x="185947" y="19790"/>
                    <a:pt x="178279" y="3830"/>
                  </a:cubicBezTo>
                  <a:cubicBezTo>
                    <a:pt x="177001" y="1277"/>
                    <a:pt x="174445" y="0"/>
                    <a:pt x="171889" y="0"/>
                  </a:cubicBezTo>
                  <a:cubicBezTo>
                    <a:pt x="169972" y="0"/>
                    <a:pt x="125882" y="5107"/>
                    <a:pt x="93932" y="54902"/>
                  </a:cubicBezTo>
                  <a:lnTo>
                    <a:pt x="31311" y="54902"/>
                  </a:lnTo>
                  <a:cubicBezTo>
                    <a:pt x="21087" y="54902"/>
                    <a:pt x="12780" y="63201"/>
                    <a:pt x="12780" y="73416"/>
                  </a:cubicBezTo>
                  <a:lnTo>
                    <a:pt x="12780" y="73416"/>
                  </a:lnTo>
                  <a:lnTo>
                    <a:pt x="12780" y="194073"/>
                  </a:lnTo>
                  <a:lnTo>
                    <a:pt x="6390" y="194073"/>
                  </a:lnTo>
                  <a:cubicBezTo>
                    <a:pt x="2556" y="194073"/>
                    <a:pt x="0" y="196627"/>
                    <a:pt x="0" y="200457"/>
                  </a:cubicBezTo>
                  <a:cubicBezTo>
                    <a:pt x="0" y="212587"/>
                    <a:pt x="10224" y="222801"/>
                    <a:pt x="22365" y="222801"/>
                  </a:cubicBezTo>
                  <a:lnTo>
                    <a:pt x="209590" y="222801"/>
                  </a:lnTo>
                  <a:cubicBezTo>
                    <a:pt x="221731" y="222801"/>
                    <a:pt x="231955" y="212587"/>
                    <a:pt x="231955" y="200457"/>
                  </a:cubicBezTo>
                  <a:cubicBezTo>
                    <a:pt x="232594" y="197265"/>
                    <a:pt x="229399" y="194711"/>
                    <a:pt x="225565" y="194711"/>
                  </a:cubicBezTo>
                  <a:cubicBezTo>
                    <a:pt x="226204" y="194711"/>
                    <a:pt x="226204" y="194711"/>
                    <a:pt x="225565" y="194711"/>
                  </a:cubicBezTo>
                  <a:close/>
                  <a:moveTo>
                    <a:pt x="168694" y="13406"/>
                  </a:moveTo>
                  <a:cubicBezTo>
                    <a:pt x="189781" y="62563"/>
                    <a:pt x="162944" y="117465"/>
                    <a:pt x="162304" y="118104"/>
                  </a:cubicBezTo>
                  <a:cubicBezTo>
                    <a:pt x="161665" y="120019"/>
                    <a:pt x="161665" y="121934"/>
                    <a:pt x="162304" y="123849"/>
                  </a:cubicBezTo>
                  <a:cubicBezTo>
                    <a:pt x="169333" y="139171"/>
                    <a:pt x="168055" y="157046"/>
                    <a:pt x="159110" y="171729"/>
                  </a:cubicBezTo>
                  <a:lnTo>
                    <a:pt x="125882" y="156408"/>
                  </a:lnTo>
                  <a:cubicBezTo>
                    <a:pt x="125243" y="155769"/>
                    <a:pt x="123965" y="155769"/>
                    <a:pt x="123326" y="155769"/>
                  </a:cubicBezTo>
                  <a:cubicBezTo>
                    <a:pt x="121409" y="155769"/>
                    <a:pt x="119492" y="156408"/>
                    <a:pt x="118214" y="158323"/>
                  </a:cubicBezTo>
                  <a:cubicBezTo>
                    <a:pt x="118214" y="158323"/>
                    <a:pt x="107990" y="170452"/>
                    <a:pt x="95849" y="165345"/>
                  </a:cubicBezTo>
                  <a:cubicBezTo>
                    <a:pt x="83708" y="160238"/>
                    <a:pt x="86264" y="141724"/>
                    <a:pt x="86264" y="141724"/>
                  </a:cubicBezTo>
                  <a:cubicBezTo>
                    <a:pt x="86903" y="139171"/>
                    <a:pt x="84986" y="135979"/>
                    <a:pt x="82430" y="134702"/>
                  </a:cubicBezTo>
                  <a:lnTo>
                    <a:pt x="49842" y="119381"/>
                  </a:lnTo>
                  <a:cubicBezTo>
                    <a:pt x="53676" y="102782"/>
                    <a:pt x="67733" y="90014"/>
                    <a:pt x="84986" y="89376"/>
                  </a:cubicBezTo>
                  <a:cubicBezTo>
                    <a:pt x="87542" y="89376"/>
                    <a:pt x="90098" y="88099"/>
                    <a:pt x="90737" y="85545"/>
                  </a:cubicBezTo>
                  <a:cubicBezTo>
                    <a:pt x="93293" y="79161"/>
                    <a:pt x="96488" y="72777"/>
                    <a:pt x="100322" y="67032"/>
                  </a:cubicBezTo>
                  <a:cubicBezTo>
                    <a:pt x="101600" y="66393"/>
                    <a:pt x="102239" y="65117"/>
                    <a:pt x="102878" y="63201"/>
                  </a:cubicBezTo>
                  <a:cubicBezTo>
                    <a:pt x="127799" y="26174"/>
                    <a:pt x="157831" y="15960"/>
                    <a:pt x="168694" y="13406"/>
                  </a:cubicBezTo>
                  <a:close/>
                  <a:moveTo>
                    <a:pt x="25560" y="73416"/>
                  </a:moveTo>
                  <a:cubicBezTo>
                    <a:pt x="25560" y="70224"/>
                    <a:pt x="28116" y="67670"/>
                    <a:pt x="31311" y="67670"/>
                  </a:cubicBezTo>
                  <a:lnTo>
                    <a:pt x="31311" y="67670"/>
                  </a:lnTo>
                  <a:lnTo>
                    <a:pt x="86264" y="67670"/>
                  </a:lnTo>
                  <a:cubicBezTo>
                    <a:pt x="84986" y="70224"/>
                    <a:pt x="83708" y="72777"/>
                    <a:pt x="82430" y="75969"/>
                  </a:cubicBezTo>
                  <a:cubicBezTo>
                    <a:pt x="67733" y="77246"/>
                    <a:pt x="44091" y="88099"/>
                    <a:pt x="37701" y="120657"/>
                  </a:cubicBezTo>
                  <a:cubicBezTo>
                    <a:pt x="37062" y="123211"/>
                    <a:pt x="38340" y="126403"/>
                    <a:pt x="41535" y="127680"/>
                  </a:cubicBezTo>
                  <a:lnTo>
                    <a:pt x="74762" y="143640"/>
                  </a:lnTo>
                  <a:cubicBezTo>
                    <a:pt x="74762" y="151939"/>
                    <a:pt x="76040" y="169176"/>
                    <a:pt x="92015" y="176198"/>
                  </a:cubicBezTo>
                  <a:cubicBezTo>
                    <a:pt x="103517" y="181305"/>
                    <a:pt x="116936" y="178752"/>
                    <a:pt x="125882" y="169176"/>
                  </a:cubicBezTo>
                  <a:lnTo>
                    <a:pt x="159749" y="185135"/>
                  </a:lnTo>
                  <a:cubicBezTo>
                    <a:pt x="160387" y="185774"/>
                    <a:pt x="161665" y="185774"/>
                    <a:pt x="162304" y="185774"/>
                  </a:cubicBezTo>
                  <a:cubicBezTo>
                    <a:pt x="164221" y="185774"/>
                    <a:pt x="166138" y="185135"/>
                    <a:pt x="167416" y="183220"/>
                  </a:cubicBezTo>
                  <a:cubicBezTo>
                    <a:pt x="180835" y="165345"/>
                    <a:pt x="184669" y="141724"/>
                    <a:pt x="176362" y="120657"/>
                  </a:cubicBezTo>
                  <a:cubicBezTo>
                    <a:pt x="184030" y="104059"/>
                    <a:pt x="188503" y="86184"/>
                    <a:pt x="190420" y="67670"/>
                  </a:cubicBezTo>
                  <a:lnTo>
                    <a:pt x="201922" y="67670"/>
                  </a:lnTo>
                  <a:cubicBezTo>
                    <a:pt x="205117" y="67670"/>
                    <a:pt x="207673" y="70224"/>
                    <a:pt x="207673" y="73416"/>
                  </a:cubicBezTo>
                  <a:cubicBezTo>
                    <a:pt x="207673" y="73416"/>
                    <a:pt x="207673" y="73416"/>
                    <a:pt x="207673" y="73416"/>
                  </a:cubicBezTo>
                  <a:lnTo>
                    <a:pt x="207673" y="194073"/>
                  </a:lnTo>
                  <a:lnTo>
                    <a:pt x="26838" y="194073"/>
                  </a:lnTo>
                  <a:lnTo>
                    <a:pt x="25560" y="73416"/>
                  </a:lnTo>
                  <a:close/>
                  <a:moveTo>
                    <a:pt x="209590" y="210033"/>
                  </a:moveTo>
                  <a:lnTo>
                    <a:pt x="22365" y="210033"/>
                  </a:lnTo>
                  <a:cubicBezTo>
                    <a:pt x="19809" y="210033"/>
                    <a:pt x="17253" y="208756"/>
                    <a:pt x="15336" y="206841"/>
                  </a:cubicBezTo>
                  <a:lnTo>
                    <a:pt x="216619" y="206841"/>
                  </a:lnTo>
                  <a:cubicBezTo>
                    <a:pt x="215341" y="209395"/>
                    <a:pt x="212785" y="210671"/>
                    <a:pt x="209590" y="210033"/>
                  </a:cubicBezTo>
                  <a:lnTo>
                    <a:pt x="209590" y="2100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xmlns="" id="{8A8467E8-5C81-7C4B-BFD1-75D784D2950B}"/>
                </a:ext>
              </a:extLst>
            </p:cNvPr>
            <p:cNvSpPr/>
            <p:nvPr/>
          </p:nvSpPr>
          <p:spPr>
            <a:xfrm>
              <a:off x="1675441" y="1536787"/>
              <a:ext cx="54953" cy="54902"/>
            </a:xfrm>
            <a:custGeom>
              <a:avLst/>
              <a:gdLst>
                <a:gd name="connsiteX0" fmla="*/ 0 w 54953"/>
                <a:gd name="connsiteY0" fmla="*/ 27451 h 54902"/>
                <a:gd name="connsiteX1" fmla="*/ 27477 w 54953"/>
                <a:gd name="connsiteY1" fmla="*/ 54902 h 54902"/>
                <a:gd name="connsiteX2" fmla="*/ 54953 w 54953"/>
                <a:gd name="connsiteY2" fmla="*/ 27451 h 54902"/>
                <a:gd name="connsiteX3" fmla="*/ 27477 w 54953"/>
                <a:gd name="connsiteY3" fmla="*/ 0 h 54902"/>
                <a:gd name="connsiteX4" fmla="*/ 0 w 54953"/>
                <a:gd name="connsiteY4" fmla="*/ 27451 h 54902"/>
                <a:gd name="connsiteX5" fmla="*/ 27477 w 54953"/>
                <a:gd name="connsiteY5" fmla="*/ 12768 h 54902"/>
                <a:gd name="connsiteX6" fmla="*/ 42173 w 54953"/>
                <a:gd name="connsiteY6" fmla="*/ 27451 h 54902"/>
                <a:gd name="connsiteX7" fmla="*/ 27477 w 54953"/>
                <a:gd name="connsiteY7" fmla="*/ 42134 h 54902"/>
                <a:gd name="connsiteX8" fmla="*/ 12780 w 54953"/>
                <a:gd name="connsiteY8" fmla="*/ 27451 h 54902"/>
                <a:gd name="connsiteX9" fmla="*/ 27477 w 54953"/>
                <a:gd name="connsiteY9" fmla="*/ 12768 h 5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53" h="54902">
                  <a:moveTo>
                    <a:pt x="0" y="27451"/>
                  </a:moveTo>
                  <a:cubicBezTo>
                    <a:pt x="0" y="42773"/>
                    <a:pt x="12141" y="54902"/>
                    <a:pt x="27477" y="54902"/>
                  </a:cubicBezTo>
                  <a:cubicBezTo>
                    <a:pt x="42812" y="54902"/>
                    <a:pt x="54953" y="42773"/>
                    <a:pt x="54953" y="27451"/>
                  </a:cubicBezTo>
                  <a:cubicBezTo>
                    <a:pt x="54953" y="12130"/>
                    <a:pt x="42812" y="0"/>
                    <a:pt x="27477" y="0"/>
                  </a:cubicBezTo>
                  <a:cubicBezTo>
                    <a:pt x="12780" y="0"/>
                    <a:pt x="639" y="12130"/>
                    <a:pt x="0" y="27451"/>
                  </a:cubicBezTo>
                  <a:close/>
                  <a:moveTo>
                    <a:pt x="27477" y="12768"/>
                  </a:moveTo>
                  <a:cubicBezTo>
                    <a:pt x="35783" y="12768"/>
                    <a:pt x="42173" y="19152"/>
                    <a:pt x="42173" y="27451"/>
                  </a:cubicBezTo>
                  <a:cubicBezTo>
                    <a:pt x="42173" y="35750"/>
                    <a:pt x="35783" y="42134"/>
                    <a:pt x="27477" y="42134"/>
                  </a:cubicBezTo>
                  <a:cubicBezTo>
                    <a:pt x="19170" y="42134"/>
                    <a:pt x="12780" y="35750"/>
                    <a:pt x="12780" y="27451"/>
                  </a:cubicBezTo>
                  <a:cubicBezTo>
                    <a:pt x="13419" y="19152"/>
                    <a:pt x="19809" y="12768"/>
                    <a:pt x="27477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" name="Graphic 4">
            <a:extLst>
              <a:ext uri="{FF2B5EF4-FFF2-40B4-BE49-F238E27FC236}">
                <a16:creationId xmlns:a16="http://schemas.microsoft.com/office/drawing/2014/main" xmlns="" id="{5B9D09E2-30F9-494D-A85D-1DE0CEE023E0}"/>
              </a:ext>
            </a:extLst>
          </p:cNvPr>
          <p:cNvGrpSpPr/>
          <p:nvPr/>
        </p:nvGrpSpPr>
        <p:grpSpPr>
          <a:xfrm>
            <a:off x="7901397" y="1887930"/>
            <a:ext cx="720000" cy="720000"/>
            <a:chOff x="467743" y="2855717"/>
            <a:chExt cx="361670" cy="362610"/>
          </a:xfrm>
          <a:solidFill>
            <a:schemeClr val="bg1"/>
          </a:solidFill>
        </p:grpSpPr>
        <p:sp>
          <p:nvSpPr>
            <p:cNvPr id="35" name="Graphic 4">
              <a:extLst>
                <a:ext uri="{FF2B5EF4-FFF2-40B4-BE49-F238E27FC236}">
                  <a16:creationId xmlns:a16="http://schemas.microsoft.com/office/drawing/2014/main" xmlns="" id="{348392B1-8556-2145-9C21-D00F63D2A95E}"/>
                </a:ext>
              </a:extLst>
            </p:cNvPr>
            <p:cNvSpPr/>
            <p:nvPr/>
          </p:nvSpPr>
          <p:spPr>
            <a:xfrm>
              <a:off x="467743" y="2855717"/>
              <a:ext cx="361670" cy="362610"/>
            </a:xfrm>
            <a:custGeom>
              <a:avLst/>
              <a:gdLst>
                <a:gd name="connsiteX0" fmla="*/ 180835 w 361670"/>
                <a:gd name="connsiteY0" fmla="*/ 0 h 362610"/>
                <a:gd name="connsiteX1" fmla="*/ 0 w 361670"/>
                <a:gd name="connsiteY1" fmla="*/ 181305 h 362610"/>
                <a:gd name="connsiteX2" fmla="*/ 180835 w 361670"/>
                <a:gd name="connsiteY2" fmla="*/ 362610 h 362610"/>
                <a:gd name="connsiteX3" fmla="*/ 361670 w 361670"/>
                <a:gd name="connsiteY3" fmla="*/ 181305 h 362610"/>
                <a:gd name="connsiteX4" fmla="*/ 361670 w 361670"/>
                <a:gd name="connsiteY4" fmla="*/ 181305 h 362610"/>
                <a:gd name="connsiteX5" fmla="*/ 180835 w 361670"/>
                <a:gd name="connsiteY5" fmla="*/ 0 h 362610"/>
                <a:gd name="connsiteX6" fmla="*/ 180835 w 361670"/>
                <a:gd name="connsiteY6" fmla="*/ 0 h 362610"/>
                <a:gd name="connsiteX7" fmla="*/ 180835 w 361670"/>
                <a:gd name="connsiteY7" fmla="*/ 349204 h 362610"/>
                <a:gd name="connsiteX8" fmla="*/ 12780 w 361670"/>
                <a:gd name="connsiteY8" fmla="*/ 180667 h 362610"/>
                <a:gd name="connsiteX9" fmla="*/ 180835 w 361670"/>
                <a:gd name="connsiteY9" fmla="*/ 12130 h 362610"/>
                <a:gd name="connsiteX10" fmla="*/ 348891 w 361670"/>
                <a:gd name="connsiteY10" fmla="*/ 180667 h 362610"/>
                <a:gd name="connsiteX11" fmla="*/ 180835 w 361670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2610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2610"/>
                    <a:pt x="180835" y="362610"/>
                  </a:cubicBezTo>
                  <a:cubicBezTo>
                    <a:pt x="280518" y="362610"/>
                    <a:pt x="361670" y="281533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0"/>
                    <a:pt x="88181" y="12130"/>
                    <a:pt x="180835" y="12130"/>
                  </a:cubicBezTo>
                  <a:cubicBezTo>
                    <a:pt x="273489" y="12130"/>
                    <a:pt x="348891" y="87460"/>
                    <a:pt x="348891" y="180667"/>
                  </a:cubicBezTo>
                  <a:cubicBezTo>
                    <a:pt x="348891" y="273234"/>
                    <a:pt x="273489" y="348565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xmlns="" id="{881634B5-D472-824A-A425-EBDEAEDE21A8}"/>
                </a:ext>
              </a:extLst>
            </p:cNvPr>
            <p:cNvSpPr/>
            <p:nvPr/>
          </p:nvSpPr>
          <p:spPr>
            <a:xfrm>
              <a:off x="603210" y="2977651"/>
              <a:ext cx="92015" cy="121295"/>
            </a:xfrm>
            <a:custGeom>
              <a:avLst/>
              <a:gdLst>
                <a:gd name="connsiteX0" fmla="*/ 92015 w 92015"/>
                <a:gd name="connsiteY0" fmla="*/ 45965 h 121295"/>
                <a:gd name="connsiteX1" fmla="*/ 46008 w 92015"/>
                <a:gd name="connsiteY1" fmla="*/ 0 h 121295"/>
                <a:gd name="connsiteX2" fmla="*/ 46008 w 92015"/>
                <a:gd name="connsiteY2" fmla="*/ 0 h 121295"/>
                <a:gd name="connsiteX3" fmla="*/ 0 w 92015"/>
                <a:gd name="connsiteY3" fmla="*/ 45965 h 121295"/>
                <a:gd name="connsiteX4" fmla="*/ 6390 w 92015"/>
                <a:gd name="connsiteY4" fmla="*/ 69586 h 121295"/>
                <a:gd name="connsiteX5" fmla="*/ 37701 w 92015"/>
                <a:gd name="connsiteY5" fmla="*/ 116827 h 121295"/>
                <a:gd name="connsiteX6" fmla="*/ 46008 w 92015"/>
                <a:gd name="connsiteY6" fmla="*/ 121296 h 121295"/>
                <a:gd name="connsiteX7" fmla="*/ 46008 w 92015"/>
                <a:gd name="connsiteY7" fmla="*/ 121296 h 121295"/>
                <a:gd name="connsiteX8" fmla="*/ 54314 w 92015"/>
                <a:gd name="connsiteY8" fmla="*/ 116827 h 121295"/>
                <a:gd name="connsiteX9" fmla="*/ 85625 w 92015"/>
                <a:gd name="connsiteY9" fmla="*/ 69586 h 121295"/>
                <a:gd name="connsiteX10" fmla="*/ 92015 w 92015"/>
                <a:gd name="connsiteY10" fmla="*/ 45965 h 121295"/>
                <a:gd name="connsiteX11" fmla="*/ 74762 w 92015"/>
                <a:gd name="connsiteY11" fmla="*/ 62563 h 121295"/>
                <a:gd name="connsiteX12" fmla="*/ 46008 w 92015"/>
                <a:gd name="connsiteY12" fmla="*/ 106613 h 121295"/>
                <a:gd name="connsiteX13" fmla="*/ 17253 w 92015"/>
                <a:gd name="connsiteY13" fmla="*/ 63202 h 121295"/>
                <a:gd name="connsiteX14" fmla="*/ 12780 w 92015"/>
                <a:gd name="connsiteY14" fmla="*/ 46603 h 121295"/>
                <a:gd name="connsiteX15" fmla="*/ 46008 w 92015"/>
                <a:gd name="connsiteY15" fmla="*/ 13406 h 121295"/>
                <a:gd name="connsiteX16" fmla="*/ 46647 w 92015"/>
                <a:gd name="connsiteY16" fmla="*/ 13406 h 121295"/>
                <a:gd name="connsiteX17" fmla="*/ 79874 w 92015"/>
                <a:gd name="connsiteY17" fmla="*/ 46603 h 121295"/>
                <a:gd name="connsiteX18" fmla="*/ 74762 w 92015"/>
                <a:gd name="connsiteY18" fmla="*/ 62563 h 121295"/>
                <a:gd name="connsiteX19" fmla="*/ 74762 w 92015"/>
                <a:gd name="connsiteY19" fmla="*/ 62563 h 12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2015" h="121295">
                  <a:moveTo>
                    <a:pt x="92015" y="45965"/>
                  </a:moveTo>
                  <a:cubicBezTo>
                    <a:pt x="92015" y="20429"/>
                    <a:pt x="71567" y="0"/>
                    <a:pt x="46008" y="0"/>
                  </a:cubicBezTo>
                  <a:lnTo>
                    <a:pt x="46008" y="0"/>
                  </a:lnTo>
                  <a:cubicBezTo>
                    <a:pt x="20448" y="0"/>
                    <a:pt x="0" y="20429"/>
                    <a:pt x="0" y="45965"/>
                  </a:cubicBezTo>
                  <a:cubicBezTo>
                    <a:pt x="0" y="54264"/>
                    <a:pt x="1917" y="62563"/>
                    <a:pt x="6390" y="69586"/>
                  </a:cubicBezTo>
                  <a:lnTo>
                    <a:pt x="37701" y="116827"/>
                  </a:lnTo>
                  <a:cubicBezTo>
                    <a:pt x="39618" y="119381"/>
                    <a:pt x="42813" y="121296"/>
                    <a:pt x="46008" y="121296"/>
                  </a:cubicBezTo>
                  <a:lnTo>
                    <a:pt x="46008" y="121296"/>
                  </a:lnTo>
                  <a:cubicBezTo>
                    <a:pt x="49202" y="121296"/>
                    <a:pt x="52397" y="119381"/>
                    <a:pt x="54314" y="116827"/>
                  </a:cubicBezTo>
                  <a:lnTo>
                    <a:pt x="85625" y="69586"/>
                  </a:lnTo>
                  <a:cubicBezTo>
                    <a:pt x="89459" y="61925"/>
                    <a:pt x="92015" y="54264"/>
                    <a:pt x="92015" y="45965"/>
                  </a:cubicBezTo>
                  <a:close/>
                  <a:moveTo>
                    <a:pt x="74762" y="62563"/>
                  </a:moveTo>
                  <a:lnTo>
                    <a:pt x="46008" y="106613"/>
                  </a:lnTo>
                  <a:lnTo>
                    <a:pt x="17253" y="63202"/>
                  </a:lnTo>
                  <a:cubicBezTo>
                    <a:pt x="14058" y="58094"/>
                    <a:pt x="12141" y="52349"/>
                    <a:pt x="12780" y="46603"/>
                  </a:cubicBezTo>
                  <a:cubicBezTo>
                    <a:pt x="12780" y="28090"/>
                    <a:pt x="27477" y="13406"/>
                    <a:pt x="46008" y="13406"/>
                  </a:cubicBezTo>
                  <a:lnTo>
                    <a:pt x="46647" y="13406"/>
                  </a:lnTo>
                  <a:cubicBezTo>
                    <a:pt x="65177" y="13406"/>
                    <a:pt x="79874" y="28728"/>
                    <a:pt x="79874" y="46603"/>
                  </a:cubicBezTo>
                  <a:cubicBezTo>
                    <a:pt x="79235" y="51710"/>
                    <a:pt x="77957" y="57456"/>
                    <a:pt x="74762" y="62563"/>
                  </a:cubicBezTo>
                  <a:lnTo>
                    <a:pt x="74762" y="625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xmlns="" id="{983F9E5E-A924-C84F-949A-7AD6C781B8A1}"/>
                </a:ext>
              </a:extLst>
            </p:cNvPr>
            <p:cNvSpPr/>
            <p:nvPr/>
          </p:nvSpPr>
          <p:spPr>
            <a:xfrm>
              <a:off x="624935" y="2999357"/>
              <a:ext cx="48563" cy="48518"/>
            </a:xfrm>
            <a:custGeom>
              <a:avLst/>
              <a:gdLst>
                <a:gd name="connsiteX0" fmla="*/ 24282 w 48563"/>
                <a:gd name="connsiteY0" fmla="*/ 0 h 48518"/>
                <a:gd name="connsiteX1" fmla="*/ 0 w 48563"/>
                <a:gd name="connsiteY1" fmla="*/ 24259 h 48518"/>
                <a:gd name="connsiteX2" fmla="*/ 24282 w 48563"/>
                <a:gd name="connsiteY2" fmla="*/ 48518 h 48518"/>
                <a:gd name="connsiteX3" fmla="*/ 48564 w 48563"/>
                <a:gd name="connsiteY3" fmla="*/ 24259 h 48518"/>
                <a:gd name="connsiteX4" fmla="*/ 48564 w 48563"/>
                <a:gd name="connsiteY4" fmla="*/ 24259 h 48518"/>
                <a:gd name="connsiteX5" fmla="*/ 24282 w 48563"/>
                <a:gd name="connsiteY5" fmla="*/ 0 h 48518"/>
                <a:gd name="connsiteX6" fmla="*/ 24282 w 48563"/>
                <a:gd name="connsiteY6" fmla="*/ 36389 h 48518"/>
                <a:gd name="connsiteX7" fmla="*/ 12780 w 48563"/>
                <a:gd name="connsiteY7" fmla="*/ 24897 h 48518"/>
                <a:gd name="connsiteX8" fmla="*/ 24282 w 48563"/>
                <a:gd name="connsiteY8" fmla="*/ 13406 h 48518"/>
                <a:gd name="connsiteX9" fmla="*/ 35784 w 48563"/>
                <a:gd name="connsiteY9" fmla="*/ 24897 h 48518"/>
                <a:gd name="connsiteX10" fmla="*/ 24282 w 48563"/>
                <a:gd name="connsiteY10" fmla="*/ 36389 h 48518"/>
                <a:gd name="connsiteX11" fmla="*/ 24282 w 48563"/>
                <a:gd name="connsiteY11" fmla="*/ 36389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563" h="48518">
                  <a:moveTo>
                    <a:pt x="24282" y="0"/>
                  </a:moveTo>
                  <a:cubicBezTo>
                    <a:pt x="10863" y="0"/>
                    <a:pt x="0" y="10853"/>
                    <a:pt x="0" y="24259"/>
                  </a:cubicBezTo>
                  <a:cubicBezTo>
                    <a:pt x="0" y="37665"/>
                    <a:pt x="10863" y="48518"/>
                    <a:pt x="24282" y="48518"/>
                  </a:cubicBezTo>
                  <a:cubicBezTo>
                    <a:pt x="37701" y="48518"/>
                    <a:pt x="48564" y="37665"/>
                    <a:pt x="48564" y="24259"/>
                  </a:cubicBezTo>
                  <a:cubicBezTo>
                    <a:pt x="48564" y="24259"/>
                    <a:pt x="48564" y="24259"/>
                    <a:pt x="48564" y="24259"/>
                  </a:cubicBezTo>
                  <a:cubicBezTo>
                    <a:pt x="48564" y="10853"/>
                    <a:pt x="37701" y="0"/>
                    <a:pt x="24282" y="0"/>
                  </a:cubicBezTo>
                  <a:close/>
                  <a:moveTo>
                    <a:pt x="24282" y="36389"/>
                  </a:moveTo>
                  <a:cubicBezTo>
                    <a:pt x="17892" y="36389"/>
                    <a:pt x="12780" y="31281"/>
                    <a:pt x="12780" y="24897"/>
                  </a:cubicBezTo>
                  <a:cubicBezTo>
                    <a:pt x="12780" y="18514"/>
                    <a:pt x="17892" y="13406"/>
                    <a:pt x="24282" y="13406"/>
                  </a:cubicBezTo>
                  <a:cubicBezTo>
                    <a:pt x="30672" y="13406"/>
                    <a:pt x="35784" y="18514"/>
                    <a:pt x="35784" y="24897"/>
                  </a:cubicBezTo>
                  <a:cubicBezTo>
                    <a:pt x="35784" y="30643"/>
                    <a:pt x="30672" y="35750"/>
                    <a:pt x="24282" y="36389"/>
                  </a:cubicBezTo>
                  <a:cubicBezTo>
                    <a:pt x="24282" y="36389"/>
                    <a:pt x="24282" y="36389"/>
                    <a:pt x="24282" y="3638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xmlns="" id="{95DE2A93-A0DB-5640-81D3-E57C4C2290FD}"/>
                </a:ext>
              </a:extLst>
            </p:cNvPr>
            <p:cNvSpPr/>
            <p:nvPr/>
          </p:nvSpPr>
          <p:spPr>
            <a:xfrm>
              <a:off x="527808" y="3030000"/>
              <a:ext cx="44729" cy="12767"/>
            </a:xfrm>
            <a:custGeom>
              <a:avLst/>
              <a:gdLst>
                <a:gd name="connsiteX0" fmla="*/ 44730 w 44729"/>
                <a:gd name="connsiteY0" fmla="*/ 6384 h 12767"/>
                <a:gd name="connsiteX1" fmla="*/ 38340 w 44729"/>
                <a:gd name="connsiteY1" fmla="*/ 0 h 12767"/>
                <a:gd name="connsiteX2" fmla="*/ 6390 w 44729"/>
                <a:gd name="connsiteY2" fmla="*/ 0 h 12767"/>
                <a:gd name="connsiteX3" fmla="*/ 0 w 44729"/>
                <a:gd name="connsiteY3" fmla="*/ 6384 h 12767"/>
                <a:gd name="connsiteX4" fmla="*/ 6390 w 44729"/>
                <a:gd name="connsiteY4" fmla="*/ 12768 h 12767"/>
                <a:gd name="connsiteX5" fmla="*/ 38340 w 44729"/>
                <a:gd name="connsiteY5" fmla="*/ 12768 h 12767"/>
                <a:gd name="connsiteX6" fmla="*/ 44730 w 44729"/>
                <a:gd name="connsiteY6" fmla="*/ 6384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44730" y="6384"/>
                  </a:moveTo>
                  <a:cubicBezTo>
                    <a:pt x="44730" y="2554"/>
                    <a:pt x="42174" y="0"/>
                    <a:pt x="38340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1535" y="12768"/>
                    <a:pt x="44730" y="10214"/>
                    <a:pt x="4473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xmlns="" id="{CB8BD740-4B52-654B-A907-AE11314F824F}"/>
                </a:ext>
              </a:extLst>
            </p:cNvPr>
            <p:cNvSpPr/>
            <p:nvPr/>
          </p:nvSpPr>
          <p:spPr>
            <a:xfrm>
              <a:off x="724618" y="3030000"/>
              <a:ext cx="44729" cy="12767"/>
            </a:xfrm>
            <a:custGeom>
              <a:avLst/>
              <a:gdLst>
                <a:gd name="connsiteX0" fmla="*/ 38340 w 44729"/>
                <a:gd name="connsiteY0" fmla="*/ 0 h 12767"/>
                <a:gd name="connsiteX1" fmla="*/ 6390 w 44729"/>
                <a:gd name="connsiteY1" fmla="*/ 0 h 12767"/>
                <a:gd name="connsiteX2" fmla="*/ 0 w 44729"/>
                <a:gd name="connsiteY2" fmla="*/ 6384 h 12767"/>
                <a:gd name="connsiteX3" fmla="*/ 6390 w 44729"/>
                <a:gd name="connsiteY3" fmla="*/ 12768 h 12767"/>
                <a:gd name="connsiteX4" fmla="*/ 38340 w 44729"/>
                <a:gd name="connsiteY4" fmla="*/ 12768 h 12767"/>
                <a:gd name="connsiteX5" fmla="*/ 44730 w 44729"/>
                <a:gd name="connsiteY5" fmla="*/ 6384 h 12767"/>
                <a:gd name="connsiteX6" fmla="*/ 38340 w 44729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38340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2174" y="12768"/>
                    <a:pt x="44730" y="10214"/>
                    <a:pt x="44730" y="6384"/>
                  </a:cubicBezTo>
                  <a:cubicBezTo>
                    <a:pt x="44730" y="2554"/>
                    <a:pt x="42174" y="0"/>
                    <a:pt x="3834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xmlns="" id="{AE00ED5A-0A58-D840-AF15-2373A8C2BAC0}"/>
                </a:ext>
              </a:extLst>
            </p:cNvPr>
            <p:cNvSpPr/>
            <p:nvPr/>
          </p:nvSpPr>
          <p:spPr>
            <a:xfrm>
              <a:off x="642188" y="2915088"/>
              <a:ext cx="12779" cy="44687"/>
            </a:xfrm>
            <a:custGeom>
              <a:avLst/>
              <a:gdLst>
                <a:gd name="connsiteX0" fmla="*/ 6390 w 12779"/>
                <a:gd name="connsiteY0" fmla="*/ 44688 h 44687"/>
                <a:gd name="connsiteX1" fmla="*/ 12780 w 12779"/>
                <a:gd name="connsiteY1" fmla="*/ 38304 h 44687"/>
                <a:gd name="connsiteX2" fmla="*/ 12780 w 12779"/>
                <a:gd name="connsiteY2" fmla="*/ 6384 h 44687"/>
                <a:gd name="connsiteX3" fmla="*/ 6390 w 12779"/>
                <a:gd name="connsiteY3" fmla="*/ 0 h 44687"/>
                <a:gd name="connsiteX4" fmla="*/ 0 w 12779"/>
                <a:gd name="connsiteY4" fmla="*/ 6384 h 44687"/>
                <a:gd name="connsiteX5" fmla="*/ 0 w 12779"/>
                <a:gd name="connsiteY5" fmla="*/ 38304 h 44687"/>
                <a:gd name="connsiteX6" fmla="*/ 6390 w 12779"/>
                <a:gd name="connsiteY6" fmla="*/ 44688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44688"/>
                  </a:move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xmlns="" id="{83263CD3-D7F2-E24A-87A0-ABACF796EF1D}"/>
                </a:ext>
              </a:extLst>
            </p:cNvPr>
            <p:cNvSpPr/>
            <p:nvPr/>
          </p:nvSpPr>
          <p:spPr>
            <a:xfrm>
              <a:off x="642827" y="3112992"/>
              <a:ext cx="12779" cy="44687"/>
            </a:xfrm>
            <a:custGeom>
              <a:avLst/>
              <a:gdLst>
                <a:gd name="connsiteX0" fmla="*/ 6390 w 12779"/>
                <a:gd name="connsiteY0" fmla="*/ 0 h 44687"/>
                <a:gd name="connsiteX1" fmla="*/ 0 w 12779"/>
                <a:gd name="connsiteY1" fmla="*/ 6384 h 44687"/>
                <a:gd name="connsiteX2" fmla="*/ 0 w 12779"/>
                <a:gd name="connsiteY2" fmla="*/ 38304 h 44687"/>
                <a:gd name="connsiteX3" fmla="*/ 6390 w 12779"/>
                <a:gd name="connsiteY3" fmla="*/ 44688 h 44687"/>
                <a:gd name="connsiteX4" fmla="*/ 12780 w 12779"/>
                <a:gd name="connsiteY4" fmla="*/ 38304 h 44687"/>
                <a:gd name="connsiteX5" fmla="*/ 12780 w 12779"/>
                <a:gd name="connsiteY5" fmla="*/ 6384 h 44687"/>
                <a:gd name="connsiteX6" fmla="*/ 6390 w 12779"/>
                <a:gd name="connsiteY6" fmla="*/ 0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xmlns="" id="{6B637347-0A8A-7946-A648-A255EB4253AD}"/>
                </a:ext>
              </a:extLst>
            </p:cNvPr>
            <p:cNvSpPr/>
            <p:nvPr/>
          </p:nvSpPr>
          <p:spPr>
            <a:xfrm>
              <a:off x="552729" y="3051067"/>
              <a:ext cx="81152" cy="81076"/>
            </a:xfrm>
            <a:custGeom>
              <a:avLst/>
              <a:gdLst>
                <a:gd name="connsiteX0" fmla="*/ 74762 w 81152"/>
                <a:gd name="connsiteY0" fmla="*/ 68309 h 81076"/>
                <a:gd name="connsiteX1" fmla="*/ 12780 w 81152"/>
                <a:gd name="connsiteY1" fmla="*/ 68309 h 81076"/>
                <a:gd name="connsiteX2" fmla="*/ 12780 w 81152"/>
                <a:gd name="connsiteY2" fmla="*/ 6384 h 81076"/>
                <a:gd name="connsiteX3" fmla="*/ 6390 w 81152"/>
                <a:gd name="connsiteY3" fmla="*/ 0 h 81076"/>
                <a:gd name="connsiteX4" fmla="*/ 0 w 81152"/>
                <a:gd name="connsiteY4" fmla="*/ 6384 h 81076"/>
                <a:gd name="connsiteX5" fmla="*/ 0 w 81152"/>
                <a:gd name="connsiteY5" fmla="*/ 74693 h 81076"/>
                <a:gd name="connsiteX6" fmla="*/ 6390 w 81152"/>
                <a:gd name="connsiteY6" fmla="*/ 81077 h 81076"/>
                <a:gd name="connsiteX7" fmla="*/ 74762 w 81152"/>
                <a:gd name="connsiteY7" fmla="*/ 81077 h 81076"/>
                <a:gd name="connsiteX8" fmla="*/ 81152 w 81152"/>
                <a:gd name="connsiteY8" fmla="*/ 74693 h 81076"/>
                <a:gd name="connsiteX9" fmla="*/ 74762 w 81152"/>
                <a:gd name="connsiteY9" fmla="*/ 68309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68309"/>
                  </a:moveTo>
                  <a:lnTo>
                    <a:pt x="12780" y="68309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cubicBezTo>
                    <a:pt x="81152" y="70862"/>
                    <a:pt x="77957" y="68309"/>
                    <a:pt x="74762" y="683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xmlns="" id="{2E26ADCE-7183-C94F-83F1-801EAD3F0782}"/>
                </a:ext>
              </a:extLst>
            </p:cNvPr>
            <p:cNvSpPr/>
            <p:nvPr/>
          </p:nvSpPr>
          <p:spPr>
            <a:xfrm>
              <a:off x="663275" y="3051067"/>
              <a:ext cx="81152" cy="81076"/>
            </a:xfrm>
            <a:custGeom>
              <a:avLst/>
              <a:gdLst>
                <a:gd name="connsiteX0" fmla="*/ 74762 w 81152"/>
                <a:gd name="connsiteY0" fmla="*/ 0 h 81076"/>
                <a:gd name="connsiteX1" fmla="*/ 68372 w 81152"/>
                <a:gd name="connsiteY1" fmla="*/ 6384 h 81076"/>
                <a:gd name="connsiteX2" fmla="*/ 68372 w 81152"/>
                <a:gd name="connsiteY2" fmla="*/ 68309 h 81076"/>
                <a:gd name="connsiteX3" fmla="*/ 6390 w 81152"/>
                <a:gd name="connsiteY3" fmla="*/ 68309 h 81076"/>
                <a:gd name="connsiteX4" fmla="*/ 0 w 81152"/>
                <a:gd name="connsiteY4" fmla="*/ 74693 h 81076"/>
                <a:gd name="connsiteX5" fmla="*/ 6390 w 81152"/>
                <a:gd name="connsiteY5" fmla="*/ 81077 h 81076"/>
                <a:gd name="connsiteX6" fmla="*/ 74762 w 81152"/>
                <a:gd name="connsiteY6" fmla="*/ 81077 h 81076"/>
                <a:gd name="connsiteX7" fmla="*/ 81152 w 81152"/>
                <a:gd name="connsiteY7" fmla="*/ 74693 h 81076"/>
                <a:gd name="connsiteX8" fmla="*/ 81152 w 81152"/>
                <a:gd name="connsiteY8" fmla="*/ 6384 h 81076"/>
                <a:gd name="connsiteX9" fmla="*/ 74762 w 81152"/>
                <a:gd name="connsiteY9" fmla="*/ 0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0"/>
                  </a:moveTo>
                  <a:cubicBezTo>
                    <a:pt x="70928" y="0"/>
                    <a:pt x="68372" y="2554"/>
                    <a:pt x="68372" y="6384"/>
                  </a:cubicBezTo>
                  <a:lnTo>
                    <a:pt x="68372" y="68309"/>
                  </a:lnTo>
                  <a:lnTo>
                    <a:pt x="6390" y="68309"/>
                  </a:lnTo>
                  <a:cubicBezTo>
                    <a:pt x="2556" y="68309"/>
                    <a:pt x="0" y="70862"/>
                    <a:pt x="0" y="74693"/>
                  </a:cubicBez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xmlns="" id="{E6FEDE2F-7075-7A49-B894-07D5B3E0E072}"/>
                </a:ext>
              </a:extLst>
            </p:cNvPr>
            <p:cNvSpPr/>
            <p:nvPr/>
          </p:nvSpPr>
          <p:spPr>
            <a:xfrm>
              <a:off x="663275" y="2939986"/>
              <a:ext cx="81152" cy="81076"/>
            </a:xfrm>
            <a:custGeom>
              <a:avLst/>
              <a:gdLst>
                <a:gd name="connsiteX0" fmla="*/ 6390 w 81152"/>
                <a:gd name="connsiteY0" fmla="*/ 12768 h 81076"/>
                <a:gd name="connsiteX1" fmla="*/ 68372 w 81152"/>
                <a:gd name="connsiteY1" fmla="*/ 12768 h 81076"/>
                <a:gd name="connsiteX2" fmla="*/ 68372 w 81152"/>
                <a:gd name="connsiteY2" fmla="*/ 74693 h 81076"/>
                <a:gd name="connsiteX3" fmla="*/ 74762 w 81152"/>
                <a:gd name="connsiteY3" fmla="*/ 81077 h 81076"/>
                <a:gd name="connsiteX4" fmla="*/ 81152 w 81152"/>
                <a:gd name="connsiteY4" fmla="*/ 74693 h 81076"/>
                <a:gd name="connsiteX5" fmla="*/ 81152 w 81152"/>
                <a:gd name="connsiteY5" fmla="*/ 6384 h 81076"/>
                <a:gd name="connsiteX6" fmla="*/ 74762 w 81152"/>
                <a:gd name="connsiteY6" fmla="*/ 0 h 81076"/>
                <a:gd name="connsiteX7" fmla="*/ 6390 w 81152"/>
                <a:gd name="connsiteY7" fmla="*/ 0 h 81076"/>
                <a:gd name="connsiteX8" fmla="*/ 0 w 81152"/>
                <a:gd name="connsiteY8" fmla="*/ 6384 h 81076"/>
                <a:gd name="connsiteX9" fmla="*/ 6390 w 81152"/>
                <a:gd name="connsiteY9" fmla="*/ 12768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12768"/>
                  </a:moveTo>
                  <a:lnTo>
                    <a:pt x="68372" y="12768"/>
                  </a:lnTo>
                  <a:lnTo>
                    <a:pt x="68372" y="74693"/>
                  </a:lnTo>
                  <a:cubicBezTo>
                    <a:pt x="68372" y="78523"/>
                    <a:pt x="70928" y="81077"/>
                    <a:pt x="74762" y="81077"/>
                  </a:cubicBez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xmlns="" id="{5D919DD8-71EA-6148-9C69-A3E77FBEE70A}"/>
                </a:ext>
              </a:extLst>
            </p:cNvPr>
            <p:cNvSpPr/>
            <p:nvPr/>
          </p:nvSpPr>
          <p:spPr>
            <a:xfrm>
              <a:off x="552090" y="2939986"/>
              <a:ext cx="81152" cy="81076"/>
            </a:xfrm>
            <a:custGeom>
              <a:avLst/>
              <a:gdLst>
                <a:gd name="connsiteX0" fmla="*/ 6390 w 81152"/>
                <a:gd name="connsiteY0" fmla="*/ 81077 h 81076"/>
                <a:gd name="connsiteX1" fmla="*/ 12780 w 81152"/>
                <a:gd name="connsiteY1" fmla="*/ 74693 h 81076"/>
                <a:gd name="connsiteX2" fmla="*/ 12780 w 81152"/>
                <a:gd name="connsiteY2" fmla="*/ 12768 h 81076"/>
                <a:gd name="connsiteX3" fmla="*/ 74762 w 81152"/>
                <a:gd name="connsiteY3" fmla="*/ 12768 h 81076"/>
                <a:gd name="connsiteX4" fmla="*/ 81152 w 81152"/>
                <a:gd name="connsiteY4" fmla="*/ 6384 h 81076"/>
                <a:gd name="connsiteX5" fmla="*/ 74762 w 81152"/>
                <a:gd name="connsiteY5" fmla="*/ 0 h 81076"/>
                <a:gd name="connsiteX6" fmla="*/ 6390 w 81152"/>
                <a:gd name="connsiteY6" fmla="*/ 0 h 81076"/>
                <a:gd name="connsiteX7" fmla="*/ 0 w 81152"/>
                <a:gd name="connsiteY7" fmla="*/ 6384 h 81076"/>
                <a:gd name="connsiteX8" fmla="*/ 0 w 81152"/>
                <a:gd name="connsiteY8" fmla="*/ 74693 h 81076"/>
                <a:gd name="connsiteX9" fmla="*/ 6390 w 81152"/>
                <a:gd name="connsiteY9" fmla="*/ 81077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81077"/>
                  </a:moveTo>
                  <a:cubicBezTo>
                    <a:pt x="10224" y="81077"/>
                    <a:pt x="12780" y="78523"/>
                    <a:pt x="12780" y="74693"/>
                  </a:cubicBezTo>
                  <a:lnTo>
                    <a:pt x="12780" y="12768"/>
                  </a:lnTo>
                  <a:lnTo>
                    <a:pt x="74762" y="12768"/>
                  </a:lnTo>
                  <a:cubicBezTo>
                    <a:pt x="78596" y="12768"/>
                    <a:pt x="81152" y="10214"/>
                    <a:pt x="81152" y="6384"/>
                  </a:cubicBez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3195" y="81077"/>
                    <a:pt x="6390" y="8107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4" name="Content Placeholder 2"/>
          <p:cNvSpPr txBox="1">
            <a:spLocks/>
          </p:cNvSpPr>
          <p:nvPr/>
        </p:nvSpPr>
        <p:spPr>
          <a:xfrm>
            <a:off x="8740972" y="1990668"/>
            <a:ext cx="3041901" cy="1785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Компания «Деловые Решения и Технологии»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представлена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в восьм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городах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России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Беларуси и Казахстан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— Москве, Санкт-Петербурге, Уфе, Екатеринбурге, Новосибирске, Владивостоке, Минске и Астане</a:t>
            </a:r>
          </a:p>
        </p:txBody>
      </p:sp>
      <p:grpSp>
        <p:nvGrpSpPr>
          <p:cNvPr id="82" name="Graphic 4">
            <a:extLst>
              <a:ext uri="{FF2B5EF4-FFF2-40B4-BE49-F238E27FC236}">
                <a16:creationId xmlns:a16="http://schemas.microsoft.com/office/drawing/2014/main" xmlns="" id="{F57C03DC-32A3-444B-8C2E-8F7222ED8D29}"/>
              </a:ext>
            </a:extLst>
          </p:cNvPr>
          <p:cNvGrpSpPr/>
          <p:nvPr/>
        </p:nvGrpSpPr>
        <p:grpSpPr>
          <a:xfrm>
            <a:off x="456658" y="1754351"/>
            <a:ext cx="720000" cy="720000"/>
            <a:chOff x="467743" y="2855717"/>
            <a:chExt cx="361670" cy="361333"/>
          </a:xfrm>
          <a:solidFill>
            <a:schemeClr val="bg1"/>
          </a:solidFill>
        </p:grpSpPr>
        <p:sp>
          <p:nvSpPr>
            <p:cNvPr id="83" name="Graphic 4">
              <a:extLst>
                <a:ext uri="{FF2B5EF4-FFF2-40B4-BE49-F238E27FC236}">
                  <a16:creationId xmlns:a16="http://schemas.microsoft.com/office/drawing/2014/main" xmlns="" id="{037CC9E5-367D-2E48-84B5-87AC49B42731}"/>
                </a:ext>
              </a:extLst>
            </p:cNvPr>
            <p:cNvSpPr/>
            <p:nvPr/>
          </p:nvSpPr>
          <p:spPr>
            <a:xfrm>
              <a:off x="467743" y="2855717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0438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Graphic 4">
              <a:extLst>
                <a:ext uri="{FF2B5EF4-FFF2-40B4-BE49-F238E27FC236}">
                  <a16:creationId xmlns:a16="http://schemas.microsoft.com/office/drawing/2014/main" xmlns="" id="{98A63D69-43BD-2445-8A2F-CE45FBA4ED8C}"/>
                </a:ext>
              </a:extLst>
            </p:cNvPr>
            <p:cNvSpPr/>
            <p:nvPr/>
          </p:nvSpPr>
          <p:spPr>
            <a:xfrm>
              <a:off x="578928" y="3039576"/>
              <a:ext cx="142495" cy="74054"/>
            </a:xfrm>
            <a:custGeom>
              <a:avLst/>
              <a:gdLst>
                <a:gd name="connsiteX0" fmla="*/ 88820 w 142495"/>
                <a:gd name="connsiteY0" fmla="*/ 0 h 74054"/>
                <a:gd name="connsiteX1" fmla="*/ 53036 w 142495"/>
                <a:gd name="connsiteY1" fmla="*/ 0 h 74054"/>
                <a:gd name="connsiteX2" fmla="*/ 0 w 142495"/>
                <a:gd name="connsiteY2" fmla="*/ 56817 h 74054"/>
                <a:gd name="connsiteX3" fmla="*/ 0 w 142495"/>
                <a:gd name="connsiteY3" fmla="*/ 67670 h 74054"/>
                <a:gd name="connsiteX4" fmla="*/ 6390 w 142495"/>
                <a:gd name="connsiteY4" fmla="*/ 74054 h 74054"/>
                <a:gd name="connsiteX5" fmla="*/ 136106 w 142495"/>
                <a:gd name="connsiteY5" fmla="*/ 74054 h 74054"/>
                <a:gd name="connsiteX6" fmla="*/ 142496 w 142495"/>
                <a:gd name="connsiteY6" fmla="*/ 67670 h 74054"/>
                <a:gd name="connsiteX7" fmla="*/ 142496 w 142495"/>
                <a:gd name="connsiteY7" fmla="*/ 56817 h 74054"/>
                <a:gd name="connsiteX8" fmla="*/ 88820 w 142495"/>
                <a:gd name="connsiteY8" fmla="*/ 0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495" h="74054">
                  <a:moveTo>
                    <a:pt x="88820" y="0"/>
                  </a:moveTo>
                  <a:lnTo>
                    <a:pt x="53036" y="0"/>
                  </a:lnTo>
                  <a:cubicBezTo>
                    <a:pt x="23643" y="0"/>
                    <a:pt x="0" y="25536"/>
                    <a:pt x="0" y="56817"/>
                  </a:cubicBez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lnTo>
                    <a:pt x="136106" y="74054"/>
                  </a:lnTo>
                  <a:cubicBezTo>
                    <a:pt x="139940" y="74054"/>
                    <a:pt x="142496" y="71501"/>
                    <a:pt x="142496" y="67670"/>
                  </a:cubicBezTo>
                  <a:lnTo>
                    <a:pt x="142496" y="56817"/>
                  </a:lnTo>
                  <a:cubicBezTo>
                    <a:pt x="142496" y="25536"/>
                    <a:pt x="118214" y="0"/>
                    <a:pt x="8882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Graphic 4">
              <a:extLst>
                <a:ext uri="{FF2B5EF4-FFF2-40B4-BE49-F238E27FC236}">
                  <a16:creationId xmlns:a16="http://schemas.microsoft.com/office/drawing/2014/main" xmlns="" id="{0ED78E60-2BAF-044B-99BC-6A6306C61334}"/>
                </a:ext>
              </a:extLst>
            </p:cNvPr>
            <p:cNvSpPr/>
            <p:nvPr/>
          </p:nvSpPr>
          <p:spPr>
            <a:xfrm>
              <a:off x="608961" y="2951477"/>
              <a:ext cx="81791" cy="81714"/>
            </a:xfrm>
            <a:custGeom>
              <a:avLst/>
              <a:gdLst>
                <a:gd name="connsiteX0" fmla="*/ 81791 w 81791"/>
                <a:gd name="connsiteY0" fmla="*/ 40858 h 81714"/>
                <a:gd name="connsiteX1" fmla="*/ 40896 w 81791"/>
                <a:gd name="connsiteY1" fmla="*/ 81715 h 81714"/>
                <a:gd name="connsiteX2" fmla="*/ 0 w 81791"/>
                <a:gd name="connsiteY2" fmla="*/ 40858 h 81714"/>
                <a:gd name="connsiteX3" fmla="*/ 40896 w 81791"/>
                <a:gd name="connsiteY3" fmla="*/ 0 h 81714"/>
                <a:gd name="connsiteX4" fmla="*/ 81791 w 81791"/>
                <a:gd name="connsiteY4" fmla="*/ 40858 h 8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91" h="81714">
                  <a:moveTo>
                    <a:pt x="81791" y="40858"/>
                  </a:moveTo>
                  <a:cubicBezTo>
                    <a:pt x="81791" y="63423"/>
                    <a:pt x="63482" y="81715"/>
                    <a:pt x="40896" y="81715"/>
                  </a:cubicBezTo>
                  <a:cubicBezTo>
                    <a:pt x="18310" y="81715"/>
                    <a:pt x="0" y="63422"/>
                    <a:pt x="0" y="40858"/>
                  </a:cubicBezTo>
                  <a:cubicBezTo>
                    <a:pt x="0" y="18292"/>
                    <a:pt x="18310" y="0"/>
                    <a:pt x="40896" y="0"/>
                  </a:cubicBezTo>
                  <a:cubicBezTo>
                    <a:pt x="63482" y="0"/>
                    <a:pt x="81791" y="18293"/>
                    <a:pt x="81791" y="4085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Graphic 4">
              <a:extLst>
                <a:ext uri="{FF2B5EF4-FFF2-40B4-BE49-F238E27FC236}">
                  <a16:creationId xmlns:a16="http://schemas.microsoft.com/office/drawing/2014/main" xmlns="" id="{0EEA5712-7466-4142-9544-3DFBB0DA93E7}"/>
                </a:ext>
              </a:extLst>
            </p:cNvPr>
            <p:cNvSpPr/>
            <p:nvPr/>
          </p:nvSpPr>
          <p:spPr>
            <a:xfrm>
              <a:off x="509277" y="3038299"/>
              <a:ext cx="76040" cy="63839"/>
            </a:xfrm>
            <a:custGeom>
              <a:avLst/>
              <a:gdLst>
                <a:gd name="connsiteX0" fmla="*/ 51119 w 76040"/>
                <a:gd name="connsiteY0" fmla="*/ 51072 h 63839"/>
                <a:gd name="connsiteX1" fmla="*/ 12780 w 76040"/>
                <a:gd name="connsiteY1" fmla="*/ 51072 h 63839"/>
                <a:gd name="connsiteX2" fmla="*/ 12780 w 76040"/>
                <a:gd name="connsiteY2" fmla="*/ 48518 h 63839"/>
                <a:gd name="connsiteX3" fmla="*/ 45369 w 76040"/>
                <a:gd name="connsiteY3" fmla="*/ 12768 h 63839"/>
                <a:gd name="connsiteX4" fmla="*/ 69650 w 76040"/>
                <a:gd name="connsiteY4" fmla="*/ 12768 h 63839"/>
                <a:gd name="connsiteX5" fmla="*/ 76040 w 76040"/>
                <a:gd name="connsiteY5" fmla="*/ 6384 h 63839"/>
                <a:gd name="connsiteX6" fmla="*/ 69650 w 76040"/>
                <a:gd name="connsiteY6" fmla="*/ 0 h 63839"/>
                <a:gd name="connsiteX7" fmla="*/ 45369 w 76040"/>
                <a:gd name="connsiteY7" fmla="*/ 0 h 63839"/>
                <a:gd name="connsiteX8" fmla="*/ 0 w 76040"/>
                <a:gd name="connsiteY8" fmla="*/ 48518 h 63839"/>
                <a:gd name="connsiteX9" fmla="*/ 0 w 76040"/>
                <a:gd name="connsiteY9" fmla="*/ 57456 h 63839"/>
                <a:gd name="connsiteX10" fmla="*/ 6390 w 76040"/>
                <a:gd name="connsiteY10" fmla="*/ 63840 h 63839"/>
                <a:gd name="connsiteX11" fmla="*/ 51119 w 76040"/>
                <a:gd name="connsiteY11" fmla="*/ 63840 h 63839"/>
                <a:gd name="connsiteX12" fmla="*/ 57509 w 76040"/>
                <a:gd name="connsiteY12" fmla="*/ 57456 h 63839"/>
                <a:gd name="connsiteX13" fmla="*/ 51119 w 76040"/>
                <a:gd name="connsiteY13" fmla="*/ 51072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040" h="63839">
                  <a:moveTo>
                    <a:pt x="51119" y="51072"/>
                  </a:moveTo>
                  <a:lnTo>
                    <a:pt x="12780" y="51072"/>
                  </a:lnTo>
                  <a:lnTo>
                    <a:pt x="12780" y="48518"/>
                  </a:lnTo>
                  <a:cubicBezTo>
                    <a:pt x="12780" y="28728"/>
                    <a:pt x="27477" y="12768"/>
                    <a:pt x="45369" y="12768"/>
                  </a:cubicBezTo>
                  <a:lnTo>
                    <a:pt x="69650" y="12768"/>
                  </a:lnTo>
                  <a:cubicBezTo>
                    <a:pt x="73484" y="12768"/>
                    <a:pt x="76040" y="10214"/>
                    <a:pt x="76040" y="6384"/>
                  </a:cubicBezTo>
                  <a:cubicBezTo>
                    <a:pt x="76040" y="2554"/>
                    <a:pt x="73484" y="0"/>
                    <a:pt x="69650" y="0"/>
                  </a:cubicBezTo>
                  <a:lnTo>
                    <a:pt x="45369" y="0"/>
                  </a:lnTo>
                  <a:cubicBezTo>
                    <a:pt x="20448" y="0"/>
                    <a:pt x="0" y="21706"/>
                    <a:pt x="0" y="48518"/>
                  </a:cubicBezTo>
                  <a:lnTo>
                    <a:pt x="0" y="57456"/>
                  </a:lnTo>
                  <a:cubicBezTo>
                    <a:pt x="0" y="61286"/>
                    <a:pt x="2556" y="63840"/>
                    <a:pt x="6390" y="63840"/>
                  </a:cubicBezTo>
                  <a:lnTo>
                    <a:pt x="51119" y="63840"/>
                  </a:lnTo>
                  <a:cubicBezTo>
                    <a:pt x="54954" y="63840"/>
                    <a:pt x="57509" y="61286"/>
                    <a:pt x="57509" y="57456"/>
                  </a:cubicBezTo>
                  <a:cubicBezTo>
                    <a:pt x="57509" y="53626"/>
                    <a:pt x="54954" y="51072"/>
                    <a:pt x="51119" y="5107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Graphic 4">
              <a:extLst>
                <a:ext uri="{FF2B5EF4-FFF2-40B4-BE49-F238E27FC236}">
                  <a16:creationId xmlns:a16="http://schemas.microsoft.com/office/drawing/2014/main" xmlns="" id="{89BF94B5-EA36-2642-819C-75770C9F88AD}"/>
                </a:ext>
              </a:extLst>
            </p:cNvPr>
            <p:cNvSpPr/>
            <p:nvPr/>
          </p:nvSpPr>
          <p:spPr>
            <a:xfrm>
              <a:off x="539949" y="2967437"/>
              <a:ext cx="61343" cy="61286"/>
            </a:xfrm>
            <a:custGeom>
              <a:avLst/>
              <a:gdLst>
                <a:gd name="connsiteX0" fmla="*/ 30672 w 61343"/>
                <a:gd name="connsiteY0" fmla="*/ 61286 h 61286"/>
                <a:gd name="connsiteX1" fmla="*/ 61343 w 61343"/>
                <a:gd name="connsiteY1" fmla="*/ 30643 h 61286"/>
                <a:gd name="connsiteX2" fmla="*/ 30672 w 61343"/>
                <a:gd name="connsiteY2" fmla="*/ 0 h 61286"/>
                <a:gd name="connsiteX3" fmla="*/ 0 w 61343"/>
                <a:gd name="connsiteY3" fmla="*/ 30643 h 61286"/>
                <a:gd name="connsiteX4" fmla="*/ 30672 w 61343"/>
                <a:gd name="connsiteY4" fmla="*/ 61286 h 61286"/>
                <a:gd name="connsiteX5" fmla="*/ 30672 w 61343"/>
                <a:gd name="connsiteY5" fmla="*/ 12130 h 61286"/>
                <a:gd name="connsiteX6" fmla="*/ 48564 w 61343"/>
                <a:gd name="connsiteY6" fmla="*/ 30005 h 61286"/>
                <a:gd name="connsiteX7" fmla="*/ 30672 w 61343"/>
                <a:gd name="connsiteY7" fmla="*/ 47880 h 61286"/>
                <a:gd name="connsiteX8" fmla="*/ 12780 w 61343"/>
                <a:gd name="connsiteY8" fmla="*/ 30005 h 61286"/>
                <a:gd name="connsiteX9" fmla="*/ 30672 w 61343"/>
                <a:gd name="connsiteY9" fmla="*/ 12130 h 6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43" h="61286">
                  <a:moveTo>
                    <a:pt x="30672" y="61286"/>
                  </a:moveTo>
                  <a:cubicBezTo>
                    <a:pt x="47925" y="61286"/>
                    <a:pt x="61343" y="47241"/>
                    <a:pt x="61343" y="30643"/>
                  </a:cubicBezTo>
                  <a:cubicBezTo>
                    <a:pt x="61343" y="14045"/>
                    <a:pt x="47286" y="0"/>
                    <a:pt x="30672" y="0"/>
                  </a:cubicBezTo>
                  <a:cubicBezTo>
                    <a:pt x="14058" y="0"/>
                    <a:pt x="0" y="14045"/>
                    <a:pt x="0" y="30643"/>
                  </a:cubicBezTo>
                  <a:cubicBezTo>
                    <a:pt x="0" y="47241"/>
                    <a:pt x="13419" y="61286"/>
                    <a:pt x="30672" y="61286"/>
                  </a:cubicBezTo>
                  <a:close/>
                  <a:moveTo>
                    <a:pt x="30672" y="12130"/>
                  </a:moveTo>
                  <a:cubicBezTo>
                    <a:pt x="40896" y="12130"/>
                    <a:pt x="48564" y="20429"/>
                    <a:pt x="48564" y="30005"/>
                  </a:cubicBezTo>
                  <a:cubicBezTo>
                    <a:pt x="48564" y="39581"/>
                    <a:pt x="40257" y="47880"/>
                    <a:pt x="30672" y="47880"/>
                  </a:cubicBezTo>
                  <a:cubicBezTo>
                    <a:pt x="21087" y="47880"/>
                    <a:pt x="12780" y="39581"/>
                    <a:pt x="12780" y="30005"/>
                  </a:cubicBezTo>
                  <a:cubicBezTo>
                    <a:pt x="12780" y="20429"/>
                    <a:pt x="20448" y="12130"/>
                    <a:pt x="30672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Graphic 4">
              <a:extLst>
                <a:ext uri="{FF2B5EF4-FFF2-40B4-BE49-F238E27FC236}">
                  <a16:creationId xmlns:a16="http://schemas.microsoft.com/office/drawing/2014/main" xmlns="" id="{3790E97B-96E1-E843-A8F8-0DF2F86294E8}"/>
                </a:ext>
              </a:extLst>
            </p:cNvPr>
            <p:cNvSpPr/>
            <p:nvPr/>
          </p:nvSpPr>
          <p:spPr>
            <a:xfrm>
              <a:off x="711200" y="3038299"/>
              <a:ext cx="76040" cy="63839"/>
            </a:xfrm>
            <a:custGeom>
              <a:avLst/>
              <a:gdLst>
                <a:gd name="connsiteX0" fmla="*/ 30672 w 76040"/>
                <a:gd name="connsiteY0" fmla="*/ 0 h 63839"/>
                <a:gd name="connsiteX1" fmla="*/ 6390 w 76040"/>
                <a:gd name="connsiteY1" fmla="*/ 0 h 63839"/>
                <a:gd name="connsiteX2" fmla="*/ 0 w 76040"/>
                <a:gd name="connsiteY2" fmla="*/ 6384 h 63839"/>
                <a:gd name="connsiteX3" fmla="*/ 6390 w 76040"/>
                <a:gd name="connsiteY3" fmla="*/ 12768 h 63839"/>
                <a:gd name="connsiteX4" fmla="*/ 30672 w 76040"/>
                <a:gd name="connsiteY4" fmla="*/ 12768 h 63839"/>
                <a:gd name="connsiteX5" fmla="*/ 63260 w 76040"/>
                <a:gd name="connsiteY5" fmla="*/ 48518 h 63839"/>
                <a:gd name="connsiteX6" fmla="*/ 63260 w 76040"/>
                <a:gd name="connsiteY6" fmla="*/ 51072 h 63839"/>
                <a:gd name="connsiteX7" fmla="*/ 24921 w 76040"/>
                <a:gd name="connsiteY7" fmla="*/ 51072 h 63839"/>
                <a:gd name="connsiteX8" fmla="*/ 18531 w 76040"/>
                <a:gd name="connsiteY8" fmla="*/ 57456 h 63839"/>
                <a:gd name="connsiteX9" fmla="*/ 24921 w 76040"/>
                <a:gd name="connsiteY9" fmla="*/ 63840 h 63839"/>
                <a:gd name="connsiteX10" fmla="*/ 69650 w 76040"/>
                <a:gd name="connsiteY10" fmla="*/ 63840 h 63839"/>
                <a:gd name="connsiteX11" fmla="*/ 76040 w 76040"/>
                <a:gd name="connsiteY11" fmla="*/ 57456 h 63839"/>
                <a:gd name="connsiteX12" fmla="*/ 76040 w 76040"/>
                <a:gd name="connsiteY12" fmla="*/ 48518 h 63839"/>
                <a:gd name="connsiteX13" fmla="*/ 30672 w 76040"/>
                <a:gd name="connsiteY13" fmla="*/ 0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040" h="63839">
                  <a:moveTo>
                    <a:pt x="3067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0672" y="12768"/>
                  </a:lnTo>
                  <a:cubicBezTo>
                    <a:pt x="48564" y="12768"/>
                    <a:pt x="63260" y="28728"/>
                    <a:pt x="63260" y="48518"/>
                  </a:cubicBezTo>
                  <a:lnTo>
                    <a:pt x="63260" y="51072"/>
                  </a:lnTo>
                  <a:lnTo>
                    <a:pt x="24921" y="51072"/>
                  </a:lnTo>
                  <a:cubicBezTo>
                    <a:pt x="21087" y="51072"/>
                    <a:pt x="18531" y="53626"/>
                    <a:pt x="18531" y="57456"/>
                  </a:cubicBezTo>
                  <a:cubicBezTo>
                    <a:pt x="18531" y="61286"/>
                    <a:pt x="21087" y="63840"/>
                    <a:pt x="24921" y="63840"/>
                  </a:cubicBezTo>
                  <a:lnTo>
                    <a:pt x="69650" y="63840"/>
                  </a:lnTo>
                  <a:cubicBezTo>
                    <a:pt x="73484" y="63840"/>
                    <a:pt x="76040" y="61286"/>
                    <a:pt x="76040" y="57456"/>
                  </a:cubicBezTo>
                  <a:lnTo>
                    <a:pt x="76040" y="48518"/>
                  </a:lnTo>
                  <a:cubicBezTo>
                    <a:pt x="76040" y="21706"/>
                    <a:pt x="55592" y="0"/>
                    <a:pt x="3067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Graphic 4">
              <a:extLst>
                <a:ext uri="{FF2B5EF4-FFF2-40B4-BE49-F238E27FC236}">
                  <a16:creationId xmlns:a16="http://schemas.microsoft.com/office/drawing/2014/main" xmlns="" id="{1F4050EF-2970-5F47-9B1F-F3ED564589FA}"/>
                </a:ext>
              </a:extLst>
            </p:cNvPr>
            <p:cNvSpPr/>
            <p:nvPr/>
          </p:nvSpPr>
          <p:spPr>
            <a:xfrm>
              <a:off x="698420" y="2967437"/>
              <a:ext cx="61343" cy="61286"/>
            </a:xfrm>
            <a:custGeom>
              <a:avLst/>
              <a:gdLst>
                <a:gd name="connsiteX0" fmla="*/ 30672 w 61343"/>
                <a:gd name="connsiteY0" fmla="*/ 61286 h 61286"/>
                <a:gd name="connsiteX1" fmla="*/ 61343 w 61343"/>
                <a:gd name="connsiteY1" fmla="*/ 30643 h 61286"/>
                <a:gd name="connsiteX2" fmla="*/ 30672 w 61343"/>
                <a:gd name="connsiteY2" fmla="*/ 0 h 61286"/>
                <a:gd name="connsiteX3" fmla="*/ 0 w 61343"/>
                <a:gd name="connsiteY3" fmla="*/ 30643 h 61286"/>
                <a:gd name="connsiteX4" fmla="*/ 30672 w 61343"/>
                <a:gd name="connsiteY4" fmla="*/ 61286 h 61286"/>
                <a:gd name="connsiteX5" fmla="*/ 30672 w 61343"/>
                <a:gd name="connsiteY5" fmla="*/ 12130 h 61286"/>
                <a:gd name="connsiteX6" fmla="*/ 48564 w 61343"/>
                <a:gd name="connsiteY6" fmla="*/ 30005 h 61286"/>
                <a:gd name="connsiteX7" fmla="*/ 30672 w 61343"/>
                <a:gd name="connsiteY7" fmla="*/ 47880 h 61286"/>
                <a:gd name="connsiteX8" fmla="*/ 12780 w 61343"/>
                <a:gd name="connsiteY8" fmla="*/ 30005 h 61286"/>
                <a:gd name="connsiteX9" fmla="*/ 30672 w 61343"/>
                <a:gd name="connsiteY9" fmla="*/ 12130 h 6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43" h="61286">
                  <a:moveTo>
                    <a:pt x="30672" y="61286"/>
                  </a:moveTo>
                  <a:cubicBezTo>
                    <a:pt x="47925" y="61286"/>
                    <a:pt x="61343" y="47241"/>
                    <a:pt x="61343" y="30643"/>
                  </a:cubicBezTo>
                  <a:cubicBezTo>
                    <a:pt x="61343" y="14045"/>
                    <a:pt x="47285" y="0"/>
                    <a:pt x="30672" y="0"/>
                  </a:cubicBezTo>
                  <a:cubicBezTo>
                    <a:pt x="14058" y="0"/>
                    <a:pt x="0" y="14045"/>
                    <a:pt x="0" y="30643"/>
                  </a:cubicBezTo>
                  <a:cubicBezTo>
                    <a:pt x="0" y="47241"/>
                    <a:pt x="13419" y="61286"/>
                    <a:pt x="30672" y="61286"/>
                  </a:cubicBezTo>
                  <a:close/>
                  <a:moveTo>
                    <a:pt x="30672" y="12130"/>
                  </a:moveTo>
                  <a:cubicBezTo>
                    <a:pt x="40896" y="12130"/>
                    <a:pt x="48564" y="20429"/>
                    <a:pt x="48564" y="30005"/>
                  </a:cubicBezTo>
                  <a:cubicBezTo>
                    <a:pt x="48564" y="39581"/>
                    <a:pt x="40257" y="47880"/>
                    <a:pt x="30672" y="47880"/>
                  </a:cubicBezTo>
                  <a:cubicBezTo>
                    <a:pt x="21087" y="47880"/>
                    <a:pt x="12780" y="39581"/>
                    <a:pt x="12780" y="30005"/>
                  </a:cubicBezTo>
                  <a:cubicBezTo>
                    <a:pt x="12780" y="20429"/>
                    <a:pt x="20448" y="12130"/>
                    <a:pt x="30672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351410" y="3084628"/>
            <a:ext cx="540000" cy="540000"/>
            <a:chOff x="905454" y="2855717"/>
            <a:chExt cx="362309" cy="361971"/>
          </a:xfrm>
          <a:solidFill>
            <a:schemeClr val="accent1"/>
          </a:solidFill>
        </p:grpSpPr>
        <p:sp>
          <p:nvSpPr>
            <p:cNvPr id="66" name="Graphic 4">
              <a:extLst>
                <a:ext uri="{FF2B5EF4-FFF2-40B4-BE49-F238E27FC236}">
                  <a16:creationId xmlns:a16="http://schemas.microsoft.com/office/drawing/2014/main" xmlns="" id="{2532319A-E8EC-4349-ADD9-27ACDA936634}"/>
                </a:ext>
              </a:extLst>
            </p:cNvPr>
            <p:cNvSpPr/>
            <p:nvPr/>
          </p:nvSpPr>
          <p:spPr>
            <a:xfrm>
              <a:off x="1053061" y="2990419"/>
              <a:ext cx="66475" cy="93206"/>
            </a:xfrm>
            <a:custGeom>
              <a:avLst/>
              <a:gdLst>
                <a:gd name="connsiteX0" fmla="*/ 33867 w 66475"/>
                <a:gd name="connsiteY0" fmla="*/ 0 h 93206"/>
                <a:gd name="connsiteX1" fmla="*/ 33867 w 66475"/>
                <a:gd name="connsiteY1" fmla="*/ 0 h 93206"/>
                <a:gd name="connsiteX2" fmla="*/ 0 w 66475"/>
                <a:gd name="connsiteY2" fmla="*/ 33197 h 93206"/>
                <a:gd name="connsiteX3" fmla="*/ 4473 w 66475"/>
                <a:gd name="connsiteY3" fmla="*/ 49795 h 93206"/>
                <a:gd name="connsiteX4" fmla="*/ 33228 w 66475"/>
                <a:gd name="connsiteY4" fmla="*/ 93206 h 93206"/>
                <a:gd name="connsiteX5" fmla="*/ 61982 w 66475"/>
                <a:gd name="connsiteY5" fmla="*/ 49157 h 93206"/>
                <a:gd name="connsiteX6" fmla="*/ 66455 w 66475"/>
                <a:gd name="connsiteY6" fmla="*/ 32558 h 93206"/>
                <a:gd name="connsiteX7" fmla="*/ 33867 w 66475"/>
                <a:gd name="connsiteY7" fmla="*/ 0 h 93206"/>
                <a:gd name="connsiteX8" fmla="*/ 33867 w 66475"/>
                <a:gd name="connsiteY8" fmla="*/ 58094 h 93206"/>
                <a:gd name="connsiteX9" fmla="*/ 9585 w 66475"/>
                <a:gd name="connsiteY9" fmla="*/ 33835 h 93206"/>
                <a:gd name="connsiteX10" fmla="*/ 33867 w 66475"/>
                <a:gd name="connsiteY10" fmla="*/ 9576 h 93206"/>
                <a:gd name="connsiteX11" fmla="*/ 58148 w 66475"/>
                <a:gd name="connsiteY11" fmla="*/ 33835 h 93206"/>
                <a:gd name="connsiteX12" fmla="*/ 58148 w 66475"/>
                <a:gd name="connsiteY12" fmla="*/ 33835 h 93206"/>
                <a:gd name="connsiteX13" fmla="*/ 33867 w 66475"/>
                <a:gd name="connsiteY13" fmla="*/ 58094 h 93206"/>
                <a:gd name="connsiteX14" fmla="*/ 33867 w 66475"/>
                <a:gd name="connsiteY14" fmla="*/ 58094 h 93206"/>
                <a:gd name="connsiteX15" fmla="*/ 33867 w 66475"/>
                <a:gd name="connsiteY15" fmla="*/ 58094 h 9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75" h="93206">
                  <a:moveTo>
                    <a:pt x="33867" y="0"/>
                  </a:moveTo>
                  <a:lnTo>
                    <a:pt x="33867" y="0"/>
                  </a:lnTo>
                  <a:cubicBezTo>
                    <a:pt x="14697" y="0"/>
                    <a:pt x="0" y="15322"/>
                    <a:pt x="0" y="33197"/>
                  </a:cubicBezTo>
                  <a:cubicBezTo>
                    <a:pt x="0" y="38942"/>
                    <a:pt x="1278" y="44688"/>
                    <a:pt x="4473" y="49795"/>
                  </a:cubicBezTo>
                  <a:lnTo>
                    <a:pt x="33228" y="93206"/>
                  </a:lnTo>
                  <a:lnTo>
                    <a:pt x="61982" y="49157"/>
                  </a:lnTo>
                  <a:cubicBezTo>
                    <a:pt x="65177" y="44050"/>
                    <a:pt x="66455" y="38304"/>
                    <a:pt x="66455" y="32558"/>
                  </a:cubicBezTo>
                  <a:cubicBezTo>
                    <a:pt x="67094" y="15322"/>
                    <a:pt x="52397" y="0"/>
                    <a:pt x="33867" y="0"/>
                  </a:cubicBezTo>
                  <a:close/>
                  <a:moveTo>
                    <a:pt x="33867" y="58094"/>
                  </a:moveTo>
                  <a:cubicBezTo>
                    <a:pt x="20448" y="58094"/>
                    <a:pt x="9585" y="47242"/>
                    <a:pt x="9585" y="33835"/>
                  </a:cubicBezTo>
                  <a:cubicBezTo>
                    <a:pt x="9585" y="20429"/>
                    <a:pt x="20448" y="9576"/>
                    <a:pt x="33867" y="9576"/>
                  </a:cubicBezTo>
                  <a:cubicBezTo>
                    <a:pt x="47285" y="9576"/>
                    <a:pt x="58148" y="20429"/>
                    <a:pt x="58148" y="33835"/>
                  </a:cubicBezTo>
                  <a:lnTo>
                    <a:pt x="58148" y="33835"/>
                  </a:lnTo>
                  <a:cubicBezTo>
                    <a:pt x="58787" y="47242"/>
                    <a:pt x="47925" y="58094"/>
                    <a:pt x="33867" y="58094"/>
                  </a:cubicBezTo>
                  <a:cubicBezTo>
                    <a:pt x="33867" y="58094"/>
                    <a:pt x="33867" y="58094"/>
                    <a:pt x="33867" y="58094"/>
                  </a:cubicBezTo>
                  <a:lnTo>
                    <a:pt x="33867" y="5809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xmlns="" id="{5E1420A6-EE75-CE46-B088-1DF5C123DBF3}"/>
                </a:ext>
              </a:extLst>
            </p:cNvPr>
            <p:cNvSpPr/>
            <p:nvPr/>
          </p:nvSpPr>
          <p:spPr>
            <a:xfrm>
              <a:off x="1075426" y="3012125"/>
              <a:ext cx="23003" cy="22982"/>
            </a:xfrm>
            <a:custGeom>
              <a:avLst/>
              <a:gdLst>
                <a:gd name="connsiteX0" fmla="*/ 11502 w 23003"/>
                <a:gd name="connsiteY0" fmla="*/ 0 h 22982"/>
                <a:gd name="connsiteX1" fmla="*/ 0 w 23003"/>
                <a:gd name="connsiteY1" fmla="*/ 11491 h 22982"/>
                <a:gd name="connsiteX2" fmla="*/ 11502 w 23003"/>
                <a:gd name="connsiteY2" fmla="*/ 22982 h 22982"/>
                <a:gd name="connsiteX3" fmla="*/ 23004 w 23003"/>
                <a:gd name="connsiteY3" fmla="*/ 11491 h 22982"/>
                <a:gd name="connsiteX4" fmla="*/ 23004 w 23003"/>
                <a:gd name="connsiteY4" fmla="*/ 11491 h 22982"/>
                <a:gd name="connsiteX5" fmla="*/ 11502 w 23003"/>
                <a:gd name="connsiteY5" fmla="*/ 0 h 2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03" h="22982">
                  <a:moveTo>
                    <a:pt x="11502" y="0"/>
                  </a:moveTo>
                  <a:cubicBezTo>
                    <a:pt x="5112" y="0"/>
                    <a:pt x="0" y="5107"/>
                    <a:pt x="0" y="11491"/>
                  </a:cubicBezTo>
                  <a:cubicBezTo>
                    <a:pt x="0" y="17875"/>
                    <a:pt x="5112" y="22982"/>
                    <a:pt x="11502" y="22982"/>
                  </a:cubicBezTo>
                  <a:cubicBezTo>
                    <a:pt x="17892" y="22982"/>
                    <a:pt x="23004" y="17875"/>
                    <a:pt x="23004" y="11491"/>
                  </a:cubicBezTo>
                  <a:lnTo>
                    <a:pt x="23004" y="11491"/>
                  </a:lnTo>
                  <a:cubicBezTo>
                    <a:pt x="23004" y="5107"/>
                    <a:pt x="17892" y="0"/>
                    <a:pt x="1150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xmlns="" id="{4054E55C-74EA-F545-9AA9-2A522C00F927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01922 w 362309"/>
                <a:gd name="connsiteY6" fmla="*/ 84268 h 361971"/>
                <a:gd name="connsiteX7" fmla="*/ 270294 w 362309"/>
                <a:gd name="connsiteY7" fmla="*/ 84268 h 361971"/>
                <a:gd name="connsiteX8" fmla="*/ 276684 w 362309"/>
                <a:gd name="connsiteY8" fmla="*/ 90652 h 361971"/>
                <a:gd name="connsiteX9" fmla="*/ 276684 w 362309"/>
                <a:gd name="connsiteY9" fmla="*/ 158961 h 361971"/>
                <a:gd name="connsiteX10" fmla="*/ 270294 w 362309"/>
                <a:gd name="connsiteY10" fmla="*/ 165345 h 361971"/>
                <a:gd name="connsiteX11" fmla="*/ 263904 w 362309"/>
                <a:gd name="connsiteY11" fmla="*/ 158961 h 361971"/>
                <a:gd name="connsiteX12" fmla="*/ 263904 w 362309"/>
                <a:gd name="connsiteY12" fmla="*/ 97036 h 361971"/>
                <a:gd name="connsiteX13" fmla="*/ 201922 w 362309"/>
                <a:gd name="connsiteY13" fmla="*/ 97036 h 361971"/>
                <a:gd name="connsiteX14" fmla="*/ 195532 w 362309"/>
                <a:gd name="connsiteY14" fmla="*/ 90652 h 361971"/>
                <a:gd name="connsiteX15" fmla="*/ 201922 w 362309"/>
                <a:gd name="connsiteY15" fmla="*/ 84268 h 361971"/>
                <a:gd name="connsiteX16" fmla="*/ 174445 w 362309"/>
                <a:gd name="connsiteY16" fmla="*/ 65755 h 361971"/>
                <a:gd name="connsiteX17" fmla="*/ 180835 w 362309"/>
                <a:gd name="connsiteY17" fmla="*/ 59371 h 361971"/>
                <a:gd name="connsiteX18" fmla="*/ 187225 w 362309"/>
                <a:gd name="connsiteY18" fmla="*/ 65755 h 361971"/>
                <a:gd name="connsiteX19" fmla="*/ 187225 w 362309"/>
                <a:gd name="connsiteY19" fmla="*/ 97675 h 361971"/>
                <a:gd name="connsiteX20" fmla="*/ 180835 w 362309"/>
                <a:gd name="connsiteY20" fmla="*/ 104059 h 361971"/>
                <a:gd name="connsiteX21" fmla="*/ 174445 w 362309"/>
                <a:gd name="connsiteY21" fmla="*/ 97675 h 361971"/>
                <a:gd name="connsiteX22" fmla="*/ 174445 w 362309"/>
                <a:gd name="connsiteY22" fmla="*/ 65755 h 361971"/>
                <a:gd name="connsiteX23" fmla="*/ 84986 w 362309"/>
                <a:gd name="connsiteY23" fmla="*/ 91291 h 361971"/>
                <a:gd name="connsiteX24" fmla="*/ 91376 w 362309"/>
                <a:gd name="connsiteY24" fmla="*/ 84907 h 361971"/>
                <a:gd name="connsiteX25" fmla="*/ 159748 w 362309"/>
                <a:gd name="connsiteY25" fmla="*/ 84907 h 361971"/>
                <a:gd name="connsiteX26" fmla="*/ 166138 w 362309"/>
                <a:gd name="connsiteY26" fmla="*/ 91291 h 361971"/>
                <a:gd name="connsiteX27" fmla="*/ 159748 w 362309"/>
                <a:gd name="connsiteY27" fmla="*/ 97675 h 361971"/>
                <a:gd name="connsiteX28" fmla="*/ 97766 w 362309"/>
                <a:gd name="connsiteY28" fmla="*/ 97675 h 361971"/>
                <a:gd name="connsiteX29" fmla="*/ 97766 w 362309"/>
                <a:gd name="connsiteY29" fmla="*/ 159600 h 361971"/>
                <a:gd name="connsiteX30" fmla="*/ 91376 w 362309"/>
                <a:gd name="connsiteY30" fmla="*/ 165984 h 361971"/>
                <a:gd name="connsiteX31" fmla="*/ 84986 w 362309"/>
                <a:gd name="connsiteY31" fmla="*/ 159600 h 361971"/>
                <a:gd name="connsiteX32" fmla="*/ 84986 w 362309"/>
                <a:gd name="connsiteY32" fmla="*/ 91291 h 361971"/>
                <a:gd name="connsiteX33" fmla="*/ 60065 w 362309"/>
                <a:gd name="connsiteY33" fmla="*/ 180667 h 361971"/>
                <a:gd name="connsiteX34" fmla="*/ 66455 w 362309"/>
                <a:gd name="connsiteY34" fmla="*/ 174283 h 361971"/>
                <a:gd name="connsiteX35" fmla="*/ 98405 w 362309"/>
                <a:gd name="connsiteY35" fmla="*/ 174283 h 361971"/>
                <a:gd name="connsiteX36" fmla="*/ 104795 w 362309"/>
                <a:gd name="connsiteY36" fmla="*/ 180667 h 361971"/>
                <a:gd name="connsiteX37" fmla="*/ 98405 w 362309"/>
                <a:gd name="connsiteY37" fmla="*/ 187051 h 361971"/>
                <a:gd name="connsiteX38" fmla="*/ 66455 w 362309"/>
                <a:gd name="connsiteY38" fmla="*/ 187051 h 361971"/>
                <a:gd name="connsiteX39" fmla="*/ 60065 w 362309"/>
                <a:gd name="connsiteY39" fmla="*/ 180667 h 361971"/>
                <a:gd name="connsiteX40" fmla="*/ 159748 w 362309"/>
                <a:gd name="connsiteY40" fmla="*/ 276426 h 361971"/>
                <a:gd name="connsiteX41" fmla="*/ 91376 w 362309"/>
                <a:gd name="connsiteY41" fmla="*/ 276426 h 361971"/>
                <a:gd name="connsiteX42" fmla="*/ 84986 w 362309"/>
                <a:gd name="connsiteY42" fmla="*/ 270042 h 361971"/>
                <a:gd name="connsiteX43" fmla="*/ 84986 w 362309"/>
                <a:gd name="connsiteY43" fmla="*/ 201734 h 361971"/>
                <a:gd name="connsiteX44" fmla="*/ 91376 w 362309"/>
                <a:gd name="connsiteY44" fmla="*/ 195350 h 361971"/>
                <a:gd name="connsiteX45" fmla="*/ 97766 w 362309"/>
                <a:gd name="connsiteY45" fmla="*/ 201734 h 361971"/>
                <a:gd name="connsiteX46" fmla="*/ 97766 w 362309"/>
                <a:gd name="connsiteY46" fmla="*/ 263658 h 361971"/>
                <a:gd name="connsiteX47" fmla="*/ 159748 w 362309"/>
                <a:gd name="connsiteY47" fmla="*/ 263658 h 361971"/>
                <a:gd name="connsiteX48" fmla="*/ 166138 w 362309"/>
                <a:gd name="connsiteY48" fmla="*/ 270042 h 361971"/>
                <a:gd name="connsiteX49" fmla="*/ 159748 w 362309"/>
                <a:gd name="connsiteY49" fmla="*/ 276426 h 361971"/>
                <a:gd name="connsiteX50" fmla="*/ 159748 w 362309"/>
                <a:gd name="connsiteY50" fmla="*/ 276426 h 361971"/>
                <a:gd name="connsiteX51" fmla="*/ 188503 w 362309"/>
                <a:gd name="connsiteY51" fmla="*/ 296217 h 361971"/>
                <a:gd name="connsiteX52" fmla="*/ 182113 w 362309"/>
                <a:gd name="connsiteY52" fmla="*/ 302601 h 361971"/>
                <a:gd name="connsiteX53" fmla="*/ 175723 w 362309"/>
                <a:gd name="connsiteY53" fmla="*/ 296217 h 361971"/>
                <a:gd name="connsiteX54" fmla="*/ 175723 w 362309"/>
                <a:gd name="connsiteY54" fmla="*/ 264297 h 361971"/>
                <a:gd name="connsiteX55" fmla="*/ 182113 w 362309"/>
                <a:gd name="connsiteY55" fmla="*/ 257913 h 361971"/>
                <a:gd name="connsiteX56" fmla="*/ 188503 w 362309"/>
                <a:gd name="connsiteY56" fmla="*/ 264297 h 361971"/>
                <a:gd name="connsiteX57" fmla="*/ 188503 w 362309"/>
                <a:gd name="connsiteY57" fmla="*/ 296217 h 361971"/>
                <a:gd name="connsiteX58" fmla="*/ 182113 w 362309"/>
                <a:gd name="connsiteY58" fmla="*/ 243230 h 361971"/>
                <a:gd name="connsiteX59" fmla="*/ 182113 w 362309"/>
                <a:gd name="connsiteY59" fmla="*/ 243230 h 361971"/>
                <a:gd name="connsiteX60" fmla="*/ 173806 w 362309"/>
                <a:gd name="connsiteY60" fmla="*/ 238761 h 361971"/>
                <a:gd name="connsiteX61" fmla="*/ 142496 w 362309"/>
                <a:gd name="connsiteY61" fmla="*/ 191519 h 361971"/>
                <a:gd name="connsiteX62" fmla="*/ 136106 w 362309"/>
                <a:gd name="connsiteY62" fmla="*/ 167899 h 361971"/>
                <a:gd name="connsiteX63" fmla="*/ 182113 w 362309"/>
                <a:gd name="connsiteY63" fmla="*/ 121934 h 361971"/>
                <a:gd name="connsiteX64" fmla="*/ 182113 w 362309"/>
                <a:gd name="connsiteY64" fmla="*/ 121934 h 361971"/>
                <a:gd name="connsiteX65" fmla="*/ 228121 w 362309"/>
                <a:gd name="connsiteY65" fmla="*/ 167899 h 361971"/>
                <a:gd name="connsiteX66" fmla="*/ 221731 w 362309"/>
                <a:gd name="connsiteY66" fmla="*/ 190881 h 361971"/>
                <a:gd name="connsiteX67" fmla="*/ 190420 w 362309"/>
                <a:gd name="connsiteY67" fmla="*/ 238122 h 361971"/>
                <a:gd name="connsiteX68" fmla="*/ 182113 w 362309"/>
                <a:gd name="connsiteY68" fmla="*/ 243230 h 361971"/>
                <a:gd name="connsiteX69" fmla="*/ 182113 w 362309"/>
                <a:gd name="connsiteY69" fmla="*/ 243230 h 361971"/>
                <a:gd name="connsiteX70" fmla="*/ 277323 w 362309"/>
                <a:gd name="connsiteY70" fmla="*/ 270042 h 361971"/>
                <a:gd name="connsiteX71" fmla="*/ 270933 w 362309"/>
                <a:gd name="connsiteY71" fmla="*/ 276426 h 361971"/>
                <a:gd name="connsiteX72" fmla="*/ 202561 w 362309"/>
                <a:gd name="connsiteY72" fmla="*/ 276426 h 361971"/>
                <a:gd name="connsiteX73" fmla="*/ 196171 w 362309"/>
                <a:gd name="connsiteY73" fmla="*/ 270042 h 361971"/>
                <a:gd name="connsiteX74" fmla="*/ 202561 w 362309"/>
                <a:gd name="connsiteY74" fmla="*/ 263658 h 361971"/>
                <a:gd name="connsiteX75" fmla="*/ 264543 w 362309"/>
                <a:gd name="connsiteY75" fmla="*/ 263658 h 361971"/>
                <a:gd name="connsiteX76" fmla="*/ 264543 w 362309"/>
                <a:gd name="connsiteY76" fmla="*/ 201734 h 361971"/>
                <a:gd name="connsiteX77" fmla="*/ 270933 w 362309"/>
                <a:gd name="connsiteY77" fmla="*/ 195350 h 361971"/>
                <a:gd name="connsiteX78" fmla="*/ 277323 w 362309"/>
                <a:gd name="connsiteY78" fmla="*/ 201734 h 361971"/>
                <a:gd name="connsiteX79" fmla="*/ 277323 w 362309"/>
                <a:gd name="connsiteY79" fmla="*/ 270042 h 361971"/>
                <a:gd name="connsiteX80" fmla="*/ 295854 w 362309"/>
                <a:gd name="connsiteY80" fmla="*/ 187051 h 361971"/>
                <a:gd name="connsiteX81" fmla="*/ 263904 w 362309"/>
                <a:gd name="connsiteY81" fmla="*/ 187051 h 361971"/>
                <a:gd name="connsiteX82" fmla="*/ 257514 w 362309"/>
                <a:gd name="connsiteY82" fmla="*/ 180667 h 361971"/>
                <a:gd name="connsiteX83" fmla="*/ 263904 w 362309"/>
                <a:gd name="connsiteY83" fmla="*/ 174283 h 361971"/>
                <a:gd name="connsiteX84" fmla="*/ 295854 w 362309"/>
                <a:gd name="connsiteY84" fmla="*/ 174283 h 361971"/>
                <a:gd name="connsiteX85" fmla="*/ 302244 w 362309"/>
                <a:gd name="connsiteY85" fmla="*/ 180667 h 361971"/>
                <a:gd name="connsiteX86" fmla="*/ 295854 w 362309"/>
                <a:gd name="connsiteY86" fmla="*/ 187051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01922" y="84268"/>
                  </a:moveTo>
                  <a:lnTo>
                    <a:pt x="270294" y="84268"/>
                  </a:lnTo>
                  <a:cubicBezTo>
                    <a:pt x="274128" y="84268"/>
                    <a:pt x="276684" y="86822"/>
                    <a:pt x="276684" y="90652"/>
                  </a:cubicBezTo>
                  <a:lnTo>
                    <a:pt x="276684" y="158961"/>
                  </a:lnTo>
                  <a:cubicBezTo>
                    <a:pt x="276684" y="162792"/>
                    <a:pt x="274128" y="165345"/>
                    <a:pt x="270294" y="165345"/>
                  </a:cubicBezTo>
                  <a:cubicBezTo>
                    <a:pt x="266460" y="165345"/>
                    <a:pt x="263904" y="162792"/>
                    <a:pt x="263904" y="158961"/>
                  </a:cubicBezTo>
                  <a:lnTo>
                    <a:pt x="263904" y="97036"/>
                  </a:lnTo>
                  <a:lnTo>
                    <a:pt x="201922" y="97036"/>
                  </a:lnTo>
                  <a:cubicBezTo>
                    <a:pt x="198088" y="97036"/>
                    <a:pt x="195532" y="94483"/>
                    <a:pt x="195532" y="90652"/>
                  </a:cubicBezTo>
                  <a:cubicBezTo>
                    <a:pt x="195532" y="86822"/>
                    <a:pt x="198088" y="84268"/>
                    <a:pt x="201922" y="84268"/>
                  </a:cubicBezTo>
                  <a:close/>
                  <a:moveTo>
                    <a:pt x="174445" y="65755"/>
                  </a:moveTo>
                  <a:cubicBezTo>
                    <a:pt x="174445" y="61925"/>
                    <a:pt x="177001" y="59371"/>
                    <a:pt x="180835" y="59371"/>
                  </a:cubicBezTo>
                  <a:cubicBezTo>
                    <a:pt x="184669" y="59371"/>
                    <a:pt x="187225" y="61925"/>
                    <a:pt x="187225" y="65755"/>
                  </a:cubicBezTo>
                  <a:lnTo>
                    <a:pt x="187225" y="97675"/>
                  </a:lnTo>
                  <a:cubicBezTo>
                    <a:pt x="187225" y="101505"/>
                    <a:pt x="184669" y="104059"/>
                    <a:pt x="180835" y="104059"/>
                  </a:cubicBezTo>
                  <a:cubicBezTo>
                    <a:pt x="177001" y="104059"/>
                    <a:pt x="174445" y="101505"/>
                    <a:pt x="174445" y="97675"/>
                  </a:cubicBezTo>
                  <a:lnTo>
                    <a:pt x="174445" y="65755"/>
                  </a:lnTo>
                  <a:close/>
                  <a:moveTo>
                    <a:pt x="84986" y="91291"/>
                  </a:moveTo>
                  <a:cubicBezTo>
                    <a:pt x="84986" y="87460"/>
                    <a:pt x="87542" y="84907"/>
                    <a:pt x="91376" y="84907"/>
                  </a:cubicBezTo>
                  <a:lnTo>
                    <a:pt x="159748" y="84907"/>
                  </a:lnTo>
                  <a:cubicBezTo>
                    <a:pt x="163582" y="84907"/>
                    <a:pt x="166138" y="87460"/>
                    <a:pt x="166138" y="91291"/>
                  </a:cubicBezTo>
                  <a:cubicBezTo>
                    <a:pt x="166138" y="95121"/>
                    <a:pt x="163582" y="97675"/>
                    <a:pt x="159748" y="97675"/>
                  </a:cubicBezTo>
                  <a:lnTo>
                    <a:pt x="97766" y="97675"/>
                  </a:lnTo>
                  <a:lnTo>
                    <a:pt x="97766" y="159600"/>
                  </a:lnTo>
                  <a:cubicBezTo>
                    <a:pt x="97766" y="163430"/>
                    <a:pt x="95210" y="165984"/>
                    <a:pt x="91376" y="165984"/>
                  </a:cubicBezTo>
                  <a:cubicBezTo>
                    <a:pt x="87542" y="165984"/>
                    <a:pt x="84986" y="163430"/>
                    <a:pt x="84986" y="159600"/>
                  </a:cubicBezTo>
                  <a:lnTo>
                    <a:pt x="84986" y="91291"/>
                  </a:lnTo>
                  <a:close/>
                  <a:moveTo>
                    <a:pt x="60065" y="180667"/>
                  </a:moveTo>
                  <a:cubicBezTo>
                    <a:pt x="60065" y="176836"/>
                    <a:pt x="62621" y="174283"/>
                    <a:pt x="66455" y="174283"/>
                  </a:cubicBezTo>
                  <a:lnTo>
                    <a:pt x="98405" y="174283"/>
                  </a:lnTo>
                  <a:cubicBezTo>
                    <a:pt x="102239" y="174283"/>
                    <a:pt x="104795" y="176836"/>
                    <a:pt x="104795" y="180667"/>
                  </a:cubicBezTo>
                  <a:cubicBezTo>
                    <a:pt x="104795" y="184497"/>
                    <a:pt x="102239" y="187051"/>
                    <a:pt x="98405" y="187051"/>
                  </a:cubicBezTo>
                  <a:lnTo>
                    <a:pt x="66455" y="187051"/>
                  </a:lnTo>
                  <a:cubicBezTo>
                    <a:pt x="63260" y="187051"/>
                    <a:pt x="60065" y="184497"/>
                    <a:pt x="60065" y="180667"/>
                  </a:cubicBezTo>
                  <a:close/>
                  <a:moveTo>
                    <a:pt x="159748" y="276426"/>
                  </a:moveTo>
                  <a:lnTo>
                    <a:pt x="91376" y="276426"/>
                  </a:lnTo>
                  <a:cubicBezTo>
                    <a:pt x="87542" y="276426"/>
                    <a:pt x="84986" y="273873"/>
                    <a:pt x="84986" y="270042"/>
                  </a:cubicBezTo>
                  <a:lnTo>
                    <a:pt x="84986" y="201734"/>
                  </a:lnTo>
                  <a:cubicBezTo>
                    <a:pt x="84986" y="197903"/>
                    <a:pt x="87542" y="195350"/>
                    <a:pt x="91376" y="195350"/>
                  </a:cubicBezTo>
                  <a:cubicBezTo>
                    <a:pt x="95210" y="195350"/>
                    <a:pt x="97766" y="197903"/>
                    <a:pt x="97766" y="201734"/>
                  </a:cubicBezTo>
                  <a:lnTo>
                    <a:pt x="97766" y="263658"/>
                  </a:lnTo>
                  <a:lnTo>
                    <a:pt x="159748" y="263658"/>
                  </a:lnTo>
                  <a:cubicBezTo>
                    <a:pt x="163582" y="263658"/>
                    <a:pt x="166138" y="266212"/>
                    <a:pt x="166138" y="270042"/>
                  </a:cubicBezTo>
                  <a:cubicBezTo>
                    <a:pt x="166138" y="273873"/>
                    <a:pt x="163582" y="276426"/>
                    <a:pt x="159748" y="276426"/>
                  </a:cubicBezTo>
                  <a:lnTo>
                    <a:pt x="159748" y="276426"/>
                  </a:lnTo>
                  <a:close/>
                  <a:moveTo>
                    <a:pt x="188503" y="296217"/>
                  </a:moveTo>
                  <a:cubicBezTo>
                    <a:pt x="188503" y="300047"/>
                    <a:pt x="185947" y="302601"/>
                    <a:pt x="182113" y="302601"/>
                  </a:cubicBezTo>
                  <a:cubicBezTo>
                    <a:pt x="178279" y="302601"/>
                    <a:pt x="175723" y="300047"/>
                    <a:pt x="175723" y="296217"/>
                  </a:cubicBezTo>
                  <a:lnTo>
                    <a:pt x="175723" y="264297"/>
                  </a:lnTo>
                  <a:cubicBezTo>
                    <a:pt x="175723" y="260466"/>
                    <a:pt x="178279" y="257913"/>
                    <a:pt x="182113" y="257913"/>
                  </a:cubicBezTo>
                  <a:cubicBezTo>
                    <a:pt x="185947" y="257913"/>
                    <a:pt x="188503" y="260466"/>
                    <a:pt x="188503" y="264297"/>
                  </a:cubicBezTo>
                  <a:lnTo>
                    <a:pt x="188503" y="296217"/>
                  </a:lnTo>
                  <a:close/>
                  <a:moveTo>
                    <a:pt x="182113" y="243230"/>
                  </a:moveTo>
                  <a:lnTo>
                    <a:pt x="182113" y="243230"/>
                  </a:lnTo>
                  <a:cubicBezTo>
                    <a:pt x="178918" y="243230"/>
                    <a:pt x="175723" y="241314"/>
                    <a:pt x="173806" y="238761"/>
                  </a:cubicBezTo>
                  <a:lnTo>
                    <a:pt x="142496" y="191519"/>
                  </a:lnTo>
                  <a:cubicBezTo>
                    <a:pt x="138023" y="184497"/>
                    <a:pt x="136106" y="176198"/>
                    <a:pt x="136106" y="167899"/>
                  </a:cubicBezTo>
                  <a:cubicBezTo>
                    <a:pt x="136106" y="142363"/>
                    <a:pt x="156553" y="121934"/>
                    <a:pt x="182113" y="121934"/>
                  </a:cubicBezTo>
                  <a:lnTo>
                    <a:pt x="182113" y="121934"/>
                  </a:lnTo>
                  <a:cubicBezTo>
                    <a:pt x="207673" y="121934"/>
                    <a:pt x="228121" y="142363"/>
                    <a:pt x="228121" y="167899"/>
                  </a:cubicBezTo>
                  <a:cubicBezTo>
                    <a:pt x="228121" y="176198"/>
                    <a:pt x="226204" y="183859"/>
                    <a:pt x="221731" y="190881"/>
                  </a:cubicBezTo>
                  <a:lnTo>
                    <a:pt x="190420" y="238122"/>
                  </a:lnTo>
                  <a:cubicBezTo>
                    <a:pt x="188503" y="241953"/>
                    <a:pt x="185308" y="243230"/>
                    <a:pt x="182113" y="243230"/>
                  </a:cubicBezTo>
                  <a:lnTo>
                    <a:pt x="182113" y="243230"/>
                  </a:lnTo>
                  <a:close/>
                  <a:moveTo>
                    <a:pt x="277323" y="270042"/>
                  </a:moveTo>
                  <a:cubicBezTo>
                    <a:pt x="277323" y="273873"/>
                    <a:pt x="274767" y="276426"/>
                    <a:pt x="270933" y="276426"/>
                  </a:cubicBezTo>
                  <a:lnTo>
                    <a:pt x="202561" y="276426"/>
                  </a:lnTo>
                  <a:cubicBezTo>
                    <a:pt x="198727" y="276426"/>
                    <a:pt x="196171" y="273873"/>
                    <a:pt x="196171" y="270042"/>
                  </a:cubicBezTo>
                  <a:cubicBezTo>
                    <a:pt x="196171" y="266212"/>
                    <a:pt x="198727" y="263658"/>
                    <a:pt x="202561" y="263658"/>
                  </a:cubicBezTo>
                  <a:lnTo>
                    <a:pt x="264543" y="263658"/>
                  </a:lnTo>
                  <a:lnTo>
                    <a:pt x="264543" y="201734"/>
                  </a:lnTo>
                  <a:cubicBezTo>
                    <a:pt x="264543" y="197903"/>
                    <a:pt x="267099" y="195350"/>
                    <a:pt x="270933" y="195350"/>
                  </a:cubicBezTo>
                  <a:cubicBezTo>
                    <a:pt x="274767" y="195350"/>
                    <a:pt x="277323" y="197903"/>
                    <a:pt x="277323" y="201734"/>
                  </a:cubicBezTo>
                  <a:lnTo>
                    <a:pt x="277323" y="270042"/>
                  </a:lnTo>
                  <a:close/>
                  <a:moveTo>
                    <a:pt x="295854" y="187051"/>
                  </a:moveTo>
                  <a:lnTo>
                    <a:pt x="263904" y="187051"/>
                  </a:lnTo>
                  <a:cubicBezTo>
                    <a:pt x="260070" y="187051"/>
                    <a:pt x="257514" y="184497"/>
                    <a:pt x="257514" y="180667"/>
                  </a:cubicBezTo>
                  <a:cubicBezTo>
                    <a:pt x="257514" y="176836"/>
                    <a:pt x="260070" y="174283"/>
                    <a:pt x="263904" y="174283"/>
                  </a:cubicBezTo>
                  <a:lnTo>
                    <a:pt x="295854" y="174283"/>
                  </a:lnTo>
                  <a:cubicBezTo>
                    <a:pt x="299688" y="174283"/>
                    <a:pt x="302244" y="176836"/>
                    <a:pt x="302244" y="180667"/>
                  </a:cubicBezTo>
                  <a:cubicBezTo>
                    <a:pt x="302244" y="184497"/>
                    <a:pt x="299688" y="187051"/>
                    <a:pt x="295854" y="18705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4" name="Graphic 4">
            <a:extLst>
              <a:ext uri="{FF2B5EF4-FFF2-40B4-BE49-F238E27FC236}">
                <a16:creationId xmlns:a16="http://schemas.microsoft.com/office/drawing/2014/main" xmlns="" id="{EBFA0405-80B4-F44D-9ADD-5AE53C7A1CDA}"/>
              </a:ext>
            </a:extLst>
          </p:cNvPr>
          <p:cNvGrpSpPr/>
          <p:nvPr/>
        </p:nvGrpSpPr>
        <p:grpSpPr>
          <a:xfrm>
            <a:off x="4685243" y="471946"/>
            <a:ext cx="720000" cy="720000"/>
            <a:chOff x="6753524" y="918179"/>
            <a:chExt cx="361674" cy="361971"/>
          </a:xfrm>
          <a:solidFill>
            <a:schemeClr val="bg1"/>
          </a:solidFill>
        </p:grpSpPr>
        <p:sp>
          <p:nvSpPr>
            <p:cNvPr id="95" name="Graphic 4">
              <a:extLst>
                <a:ext uri="{FF2B5EF4-FFF2-40B4-BE49-F238E27FC236}">
                  <a16:creationId xmlns:a16="http://schemas.microsoft.com/office/drawing/2014/main" xmlns="" id="{36FE4066-0B12-4549-BC96-C0CE45902E15}"/>
                </a:ext>
              </a:extLst>
            </p:cNvPr>
            <p:cNvSpPr/>
            <p:nvPr/>
          </p:nvSpPr>
          <p:spPr>
            <a:xfrm>
              <a:off x="6753524" y="918179"/>
              <a:ext cx="361674" cy="361971"/>
            </a:xfrm>
            <a:custGeom>
              <a:avLst/>
              <a:gdLst>
                <a:gd name="connsiteX0" fmla="*/ 180835 w 361674"/>
                <a:gd name="connsiteY0" fmla="*/ 0 h 361971"/>
                <a:gd name="connsiteX1" fmla="*/ 0 w 361674"/>
                <a:gd name="connsiteY1" fmla="*/ 180667 h 361971"/>
                <a:gd name="connsiteX2" fmla="*/ 180835 w 361674"/>
                <a:gd name="connsiteY2" fmla="*/ 361972 h 361971"/>
                <a:gd name="connsiteX3" fmla="*/ 361670 w 361674"/>
                <a:gd name="connsiteY3" fmla="*/ 181305 h 361971"/>
                <a:gd name="connsiteX4" fmla="*/ 361670 w 361674"/>
                <a:gd name="connsiteY4" fmla="*/ 181305 h 361971"/>
                <a:gd name="connsiteX5" fmla="*/ 180835 w 361674"/>
                <a:gd name="connsiteY5" fmla="*/ 0 h 361971"/>
                <a:gd name="connsiteX6" fmla="*/ 180835 w 361674"/>
                <a:gd name="connsiteY6" fmla="*/ 0 h 361971"/>
                <a:gd name="connsiteX7" fmla="*/ 180835 w 361674"/>
                <a:gd name="connsiteY7" fmla="*/ 349204 h 361971"/>
                <a:gd name="connsiteX8" fmla="*/ 12780 w 361674"/>
                <a:gd name="connsiteY8" fmla="*/ 181305 h 361971"/>
                <a:gd name="connsiteX9" fmla="*/ 180835 w 361674"/>
                <a:gd name="connsiteY9" fmla="*/ 12768 h 361971"/>
                <a:gd name="connsiteX10" fmla="*/ 348890 w 361674"/>
                <a:gd name="connsiteY10" fmla="*/ 180667 h 361971"/>
                <a:gd name="connsiteX11" fmla="*/ 348890 w 361674"/>
                <a:gd name="connsiteY11" fmla="*/ 180667 h 361971"/>
                <a:gd name="connsiteX12" fmla="*/ 180835 w 361674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674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1670" y="280895"/>
                    <a:pt x="361670" y="181305"/>
                  </a:cubicBezTo>
                  <a:lnTo>
                    <a:pt x="361670" y="181305"/>
                  </a:lnTo>
                  <a:cubicBezTo>
                    <a:pt x="362309" y="81077"/>
                    <a:pt x="281157" y="0"/>
                    <a:pt x="180835" y="0"/>
                  </a:cubicBezTo>
                  <a:cubicBezTo>
                    <a:pt x="181474" y="0"/>
                    <a:pt x="181474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8890" y="88099"/>
                    <a:pt x="348890" y="180667"/>
                  </a:cubicBezTo>
                  <a:lnTo>
                    <a:pt x="348890" y="180667"/>
                  </a:lnTo>
                  <a:cubicBezTo>
                    <a:pt x="349529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Graphic 4">
              <a:extLst>
                <a:ext uri="{FF2B5EF4-FFF2-40B4-BE49-F238E27FC236}">
                  <a16:creationId xmlns:a16="http://schemas.microsoft.com/office/drawing/2014/main" xmlns="" id="{596181FE-0FFF-6847-AF5A-8B75BF1A31D2}"/>
                </a:ext>
              </a:extLst>
            </p:cNvPr>
            <p:cNvSpPr/>
            <p:nvPr/>
          </p:nvSpPr>
          <p:spPr>
            <a:xfrm>
              <a:off x="6920301" y="1021599"/>
              <a:ext cx="33227" cy="33196"/>
            </a:xfrm>
            <a:custGeom>
              <a:avLst/>
              <a:gdLst>
                <a:gd name="connsiteX0" fmla="*/ 26837 w 33227"/>
                <a:gd name="connsiteY0" fmla="*/ 0 h 33196"/>
                <a:gd name="connsiteX1" fmla="*/ 6390 w 33227"/>
                <a:gd name="connsiteY1" fmla="*/ 0 h 33196"/>
                <a:gd name="connsiteX2" fmla="*/ 0 w 33227"/>
                <a:gd name="connsiteY2" fmla="*/ 6384 h 33196"/>
                <a:gd name="connsiteX3" fmla="*/ 0 w 33227"/>
                <a:gd name="connsiteY3" fmla="*/ 26813 h 33196"/>
                <a:gd name="connsiteX4" fmla="*/ 6390 w 33227"/>
                <a:gd name="connsiteY4" fmla="*/ 33197 h 33196"/>
                <a:gd name="connsiteX5" fmla="*/ 26837 w 33227"/>
                <a:gd name="connsiteY5" fmla="*/ 33197 h 33196"/>
                <a:gd name="connsiteX6" fmla="*/ 33227 w 33227"/>
                <a:gd name="connsiteY6" fmla="*/ 26813 h 33196"/>
                <a:gd name="connsiteX7" fmla="*/ 33227 w 33227"/>
                <a:gd name="connsiteY7" fmla="*/ 6384 h 33196"/>
                <a:gd name="connsiteX8" fmla="*/ 26837 w 33227"/>
                <a:gd name="connsiteY8" fmla="*/ 0 h 33196"/>
                <a:gd name="connsiteX9" fmla="*/ 26837 w 33227"/>
                <a:gd name="connsiteY9" fmla="*/ 0 h 33196"/>
                <a:gd name="connsiteX10" fmla="*/ 20447 w 33227"/>
                <a:gd name="connsiteY10" fmla="*/ 20429 h 33196"/>
                <a:gd name="connsiteX11" fmla="*/ 12780 w 33227"/>
                <a:gd name="connsiteY11" fmla="*/ 20429 h 33196"/>
                <a:gd name="connsiteX12" fmla="*/ 12780 w 33227"/>
                <a:gd name="connsiteY12" fmla="*/ 12768 h 33196"/>
                <a:gd name="connsiteX13" fmla="*/ 20447 w 33227"/>
                <a:gd name="connsiteY13" fmla="*/ 12768 h 33196"/>
                <a:gd name="connsiteX14" fmla="*/ 20447 w 33227"/>
                <a:gd name="connsiteY14" fmla="*/ 2042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227" h="33196">
                  <a:moveTo>
                    <a:pt x="26837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26813"/>
                  </a:lnTo>
                  <a:cubicBezTo>
                    <a:pt x="0" y="30643"/>
                    <a:pt x="2556" y="33197"/>
                    <a:pt x="6390" y="33197"/>
                  </a:cubicBezTo>
                  <a:lnTo>
                    <a:pt x="26837" y="33197"/>
                  </a:lnTo>
                  <a:cubicBezTo>
                    <a:pt x="30672" y="33197"/>
                    <a:pt x="33227" y="30643"/>
                    <a:pt x="33227" y="26813"/>
                  </a:cubicBezTo>
                  <a:lnTo>
                    <a:pt x="33227" y="6384"/>
                  </a:lnTo>
                  <a:cubicBezTo>
                    <a:pt x="33227" y="2554"/>
                    <a:pt x="30032" y="0"/>
                    <a:pt x="26837" y="0"/>
                  </a:cubicBezTo>
                  <a:cubicBezTo>
                    <a:pt x="26837" y="0"/>
                    <a:pt x="26837" y="0"/>
                    <a:pt x="26837" y="0"/>
                  </a:cubicBezTo>
                  <a:close/>
                  <a:moveTo>
                    <a:pt x="20447" y="20429"/>
                  </a:moveTo>
                  <a:lnTo>
                    <a:pt x="12780" y="20429"/>
                  </a:lnTo>
                  <a:lnTo>
                    <a:pt x="12780" y="12768"/>
                  </a:lnTo>
                  <a:lnTo>
                    <a:pt x="20447" y="12768"/>
                  </a:lnTo>
                  <a:lnTo>
                    <a:pt x="20447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Graphic 4">
              <a:extLst>
                <a:ext uri="{FF2B5EF4-FFF2-40B4-BE49-F238E27FC236}">
                  <a16:creationId xmlns:a16="http://schemas.microsoft.com/office/drawing/2014/main" xmlns="" id="{28174715-7AB6-CF40-B32A-F7E160741BCC}"/>
                </a:ext>
              </a:extLst>
            </p:cNvPr>
            <p:cNvSpPr/>
            <p:nvPr/>
          </p:nvSpPr>
          <p:spPr>
            <a:xfrm>
              <a:off x="6965031" y="1021599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Graphic 4">
              <a:extLst>
                <a:ext uri="{FF2B5EF4-FFF2-40B4-BE49-F238E27FC236}">
                  <a16:creationId xmlns:a16="http://schemas.microsoft.com/office/drawing/2014/main" xmlns="" id="{BCFD82DA-32C2-E24F-875A-84E42F27A344}"/>
                </a:ext>
              </a:extLst>
            </p:cNvPr>
            <p:cNvSpPr/>
            <p:nvPr/>
          </p:nvSpPr>
          <p:spPr>
            <a:xfrm>
              <a:off x="6965031" y="1042028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Graphic 4">
              <a:extLst>
                <a:ext uri="{FF2B5EF4-FFF2-40B4-BE49-F238E27FC236}">
                  <a16:creationId xmlns:a16="http://schemas.microsoft.com/office/drawing/2014/main" xmlns="" id="{63384BBA-F2B9-4D46-976C-F103795E7C65}"/>
                </a:ext>
              </a:extLst>
            </p:cNvPr>
            <p:cNvSpPr/>
            <p:nvPr/>
          </p:nvSpPr>
          <p:spPr>
            <a:xfrm>
              <a:off x="6920301" y="1073948"/>
              <a:ext cx="33227" cy="33196"/>
            </a:xfrm>
            <a:custGeom>
              <a:avLst/>
              <a:gdLst>
                <a:gd name="connsiteX0" fmla="*/ 26837 w 33227"/>
                <a:gd name="connsiteY0" fmla="*/ 0 h 33196"/>
                <a:gd name="connsiteX1" fmla="*/ 6390 w 33227"/>
                <a:gd name="connsiteY1" fmla="*/ 0 h 33196"/>
                <a:gd name="connsiteX2" fmla="*/ 0 w 33227"/>
                <a:gd name="connsiteY2" fmla="*/ 6384 h 33196"/>
                <a:gd name="connsiteX3" fmla="*/ 0 w 33227"/>
                <a:gd name="connsiteY3" fmla="*/ 26813 h 33196"/>
                <a:gd name="connsiteX4" fmla="*/ 6390 w 33227"/>
                <a:gd name="connsiteY4" fmla="*/ 33197 h 33196"/>
                <a:gd name="connsiteX5" fmla="*/ 26837 w 33227"/>
                <a:gd name="connsiteY5" fmla="*/ 33197 h 33196"/>
                <a:gd name="connsiteX6" fmla="*/ 33227 w 33227"/>
                <a:gd name="connsiteY6" fmla="*/ 26813 h 33196"/>
                <a:gd name="connsiteX7" fmla="*/ 33227 w 33227"/>
                <a:gd name="connsiteY7" fmla="*/ 6384 h 33196"/>
                <a:gd name="connsiteX8" fmla="*/ 26837 w 33227"/>
                <a:gd name="connsiteY8" fmla="*/ 0 h 33196"/>
                <a:gd name="connsiteX9" fmla="*/ 26837 w 33227"/>
                <a:gd name="connsiteY9" fmla="*/ 0 h 33196"/>
                <a:gd name="connsiteX10" fmla="*/ 20447 w 33227"/>
                <a:gd name="connsiteY10" fmla="*/ 20429 h 33196"/>
                <a:gd name="connsiteX11" fmla="*/ 12780 w 33227"/>
                <a:gd name="connsiteY11" fmla="*/ 20429 h 33196"/>
                <a:gd name="connsiteX12" fmla="*/ 12780 w 33227"/>
                <a:gd name="connsiteY12" fmla="*/ 12768 h 33196"/>
                <a:gd name="connsiteX13" fmla="*/ 20447 w 33227"/>
                <a:gd name="connsiteY13" fmla="*/ 12768 h 33196"/>
                <a:gd name="connsiteX14" fmla="*/ 20447 w 33227"/>
                <a:gd name="connsiteY14" fmla="*/ 2042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227" h="33196">
                  <a:moveTo>
                    <a:pt x="26837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26813"/>
                  </a:lnTo>
                  <a:cubicBezTo>
                    <a:pt x="0" y="30643"/>
                    <a:pt x="2556" y="33197"/>
                    <a:pt x="6390" y="33197"/>
                  </a:cubicBezTo>
                  <a:lnTo>
                    <a:pt x="26837" y="33197"/>
                  </a:lnTo>
                  <a:cubicBezTo>
                    <a:pt x="30672" y="33197"/>
                    <a:pt x="33227" y="30643"/>
                    <a:pt x="33227" y="26813"/>
                  </a:cubicBezTo>
                  <a:lnTo>
                    <a:pt x="33227" y="6384"/>
                  </a:lnTo>
                  <a:cubicBezTo>
                    <a:pt x="33227" y="3192"/>
                    <a:pt x="30032" y="0"/>
                    <a:pt x="26837" y="0"/>
                  </a:cubicBezTo>
                  <a:cubicBezTo>
                    <a:pt x="26837" y="0"/>
                    <a:pt x="26837" y="0"/>
                    <a:pt x="26837" y="0"/>
                  </a:cubicBezTo>
                  <a:close/>
                  <a:moveTo>
                    <a:pt x="20447" y="20429"/>
                  </a:moveTo>
                  <a:lnTo>
                    <a:pt x="12780" y="20429"/>
                  </a:lnTo>
                  <a:lnTo>
                    <a:pt x="12780" y="12768"/>
                  </a:lnTo>
                  <a:lnTo>
                    <a:pt x="20447" y="12768"/>
                  </a:lnTo>
                  <a:lnTo>
                    <a:pt x="20447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Graphic 4">
              <a:extLst>
                <a:ext uri="{FF2B5EF4-FFF2-40B4-BE49-F238E27FC236}">
                  <a16:creationId xmlns:a16="http://schemas.microsoft.com/office/drawing/2014/main" xmlns="" id="{2FF16FC5-3AFB-604E-9F4E-69D88800E467}"/>
                </a:ext>
              </a:extLst>
            </p:cNvPr>
            <p:cNvSpPr/>
            <p:nvPr/>
          </p:nvSpPr>
          <p:spPr>
            <a:xfrm>
              <a:off x="6965031" y="1073948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Graphic 4">
              <a:extLst>
                <a:ext uri="{FF2B5EF4-FFF2-40B4-BE49-F238E27FC236}">
                  <a16:creationId xmlns:a16="http://schemas.microsoft.com/office/drawing/2014/main" xmlns="" id="{1F12814F-1050-1C42-B37E-239FE3A31C00}"/>
                </a:ext>
              </a:extLst>
            </p:cNvPr>
            <p:cNvSpPr/>
            <p:nvPr/>
          </p:nvSpPr>
          <p:spPr>
            <a:xfrm>
              <a:off x="6965031" y="1094377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Graphic 4">
              <a:extLst>
                <a:ext uri="{FF2B5EF4-FFF2-40B4-BE49-F238E27FC236}">
                  <a16:creationId xmlns:a16="http://schemas.microsoft.com/office/drawing/2014/main" xmlns="" id="{044E847C-605B-1E42-9CD1-EF7325A3C679}"/>
                </a:ext>
              </a:extLst>
            </p:cNvPr>
            <p:cNvSpPr/>
            <p:nvPr/>
          </p:nvSpPr>
          <p:spPr>
            <a:xfrm>
              <a:off x="6822535" y="1106506"/>
              <a:ext cx="112173" cy="69585"/>
            </a:xfrm>
            <a:custGeom>
              <a:avLst/>
              <a:gdLst>
                <a:gd name="connsiteX0" fmla="*/ 98405 w 112173"/>
                <a:gd name="connsiteY0" fmla="*/ 2554 h 69585"/>
                <a:gd name="connsiteX1" fmla="*/ 95210 w 112173"/>
                <a:gd name="connsiteY1" fmla="*/ 3192 h 69585"/>
                <a:gd name="connsiteX2" fmla="*/ 83709 w 112173"/>
                <a:gd name="connsiteY2" fmla="*/ 13406 h 69585"/>
                <a:gd name="connsiteX3" fmla="*/ 77958 w 112173"/>
                <a:gd name="connsiteY3" fmla="*/ 28728 h 69585"/>
                <a:gd name="connsiteX4" fmla="*/ 77958 w 112173"/>
                <a:gd name="connsiteY4" fmla="*/ 26813 h 69585"/>
                <a:gd name="connsiteX5" fmla="*/ 51759 w 112173"/>
                <a:gd name="connsiteY5" fmla="*/ 0 h 69585"/>
                <a:gd name="connsiteX6" fmla="*/ 51119 w 112173"/>
                <a:gd name="connsiteY6" fmla="*/ 0 h 69585"/>
                <a:gd name="connsiteX7" fmla="*/ 26838 w 112173"/>
                <a:gd name="connsiteY7" fmla="*/ 0 h 69585"/>
                <a:gd name="connsiteX8" fmla="*/ 0 w 112173"/>
                <a:gd name="connsiteY8" fmla="*/ 26174 h 69585"/>
                <a:gd name="connsiteX9" fmla="*/ 0 w 112173"/>
                <a:gd name="connsiteY9" fmla="*/ 26813 h 69585"/>
                <a:gd name="connsiteX10" fmla="*/ 0 w 112173"/>
                <a:gd name="connsiteY10" fmla="*/ 63201 h 69585"/>
                <a:gd name="connsiteX11" fmla="*/ 6390 w 112173"/>
                <a:gd name="connsiteY11" fmla="*/ 69585 h 69585"/>
                <a:gd name="connsiteX12" fmla="*/ 12780 w 112173"/>
                <a:gd name="connsiteY12" fmla="*/ 63201 h 69585"/>
                <a:gd name="connsiteX13" fmla="*/ 12780 w 112173"/>
                <a:gd name="connsiteY13" fmla="*/ 26813 h 69585"/>
                <a:gd name="connsiteX14" fmla="*/ 26199 w 112173"/>
                <a:gd name="connsiteY14" fmla="*/ 12768 h 69585"/>
                <a:gd name="connsiteX15" fmla="*/ 26199 w 112173"/>
                <a:gd name="connsiteY15" fmla="*/ 12768 h 69585"/>
                <a:gd name="connsiteX16" fmla="*/ 50481 w 112173"/>
                <a:gd name="connsiteY16" fmla="*/ 12768 h 69585"/>
                <a:gd name="connsiteX17" fmla="*/ 64539 w 112173"/>
                <a:gd name="connsiteY17" fmla="*/ 26174 h 69585"/>
                <a:gd name="connsiteX18" fmla="*/ 64539 w 112173"/>
                <a:gd name="connsiteY18" fmla="*/ 26813 h 69585"/>
                <a:gd name="connsiteX19" fmla="*/ 64539 w 112173"/>
                <a:gd name="connsiteY19" fmla="*/ 63201 h 69585"/>
                <a:gd name="connsiteX20" fmla="*/ 70929 w 112173"/>
                <a:gd name="connsiteY20" fmla="*/ 69585 h 69585"/>
                <a:gd name="connsiteX21" fmla="*/ 76679 w 112173"/>
                <a:gd name="connsiteY21" fmla="*/ 65755 h 69585"/>
                <a:gd name="connsiteX22" fmla="*/ 88181 w 112173"/>
                <a:gd name="connsiteY22" fmla="*/ 36389 h 69585"/>
                <a:gd name="connsiteX23" fmla="*/ 81153 w 112173"/>
                <a:gd name="connsiteY23" fmla="*/ 61925 h 69585"/>
                <a:gd name="connsiteX24" fmla="*/ 85625 w 112173"/>
                <a:gd name="connsiteY24" fmla="*/ 69585 h 69585"/>
                <a:gd name="connsiteX25" fmla="*/ 87543 w 112173"/>
                <a:gd name="connsiteY25" fmla="*/ 69585 h 69585"/>
                <a:gd name="connsiteX26" fmla="*/ 93933 w 112173"/>
                <a:gd name="connsiteY26" fmla="*/ 65117 h 69585"/>
                <a:gd name="connsiteX27" fmla="*/ 105434 w 112173"/>
                <a:gd name="connsiteY27" fmla="*/ 22344 h 69585"/>
                <a:gd name="connsiteX28" fmla="*/ 108629 w 112173"/>
                <a:gd name="connsiteY28" fmla="*/ 19790 h 69585"/>
                <a:gd name="connsiteX29" fmla="*/ 109907 w 112173"/>
                <a:gd name="connsiteY29" fmla="*/ 18514 h 69585"/>
                <a:gd name="connsiteX30" fmla="*/ 110546 w 112173"/>
                <a:gd name="connsiteY30" fmla="*/ 7022 h 69585"/>
                <a:gd name="connsiteX31" fmla="*/ 98405 w 112173"/>
                <a:gd name="connsiteY31" fmla="*/ 2554 h 6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2173" h="69585">
                  <a:moveTo>
                    <a:pt x="98405" y="2554"/>
                  </a:moveTo>
                  <a:lnTo>
                    <a:pt x="95210" y="3192"/>
                  </a:lnTo>
                  <a:cubicBezTo>
                    <a:pt x="90099" y="4469"/>
                    <a:pt x="85625" y="8299"/>
                    <a:pt x="83709" y="13406"/>
                  </a:cubicBezTo>
                  <a:lnTo>
                    <a:pt x="77958" y="28728"/>
                  </a:lnTo>
                  <a:lnTo>
                    <a:pt x="77958" y="26813"/>
                  </a:lnTo>
                  <a:cubicBezTo>
                    <a:pt x="77958" y="12130"/>
                    <a:pt x="66456" y="0"/>
                    <a:pt x="51759" y="0"/>
                  </a:cubicBezTo>
                  <a:cubicBezTo>
                    <a:pt x="51759" y="0"/>
                    <a:pt x="51119" y="0"/>
                    <a:pt x="51119" y="0"/>
                  </a:cubicBezTo>
                  <a:lnTo>
                    <a:pt x="26838" y="0"/>
                  </a:lnTo>
                  <a:cubicBezTo>
                    <a:pt x="12141" y="0"/>
                    <a:pt x="0" y="11491"/>
                    <a:pt x="0" y="26174"/>
                  </a:cubicBezTo>
                  <a:cubicBezTo>
                    <a:pt x="0" y="26174"/>
                    <a:pt x="0" y="26813"/>
                    <a:pt x="0" y="26813"/>
                  </a:cubicBezTo>
                  <a:lnTo>
                    <a:pt x="0" y="63201"/>
                  </a:lnTo>
                  <a:cubicBezTo>
                    <a:pt x="0" y="67032"/>
                    <a:pt x="2556" y="69585"/>
                    <a:pt x="6390" y="69585"/>
                  </a:cubicBezTo>
                  <a:cubicBezTo>
                    <a:pt x="10225" y="69585"/>
                    <a:pt x="12780" y="67032"/>
                    <a:pt x="12780" y="63201"/>
                  </a:cubicBezTo>
                  <a:lnTo>
                    <a:pt x="12780" y="26813"/>
                  </a:lnTo>
                  <a:cubicBezTo>
                    <a:pt x="12780" y="19152"/>
                    <a:pt x="18531" y="12768"/>
                    <a:pt x="26199" y="12768"/>
                  </a:cubicBezTo>
                  <a:cubicBezTo>
                    <a:pt x="26199" y="12768"/>
                    <a:pt x="26199" y="12768"/>
                    <a:pt x="26199" y="12768"/>
                  </a:cubicBezTo>
                  <a:lnTo>
                    <a:pt x="50481" y="12768"/>
                  </a:lnTo>
                  <a:cubicBezTo>
                    <a:pt x="58149" y="12768"/>
                    <a:pt x="64539" y="18514"/>
                    <a:pt x="64539" y="26174"/>
                  </a:cubicBezTo>
                  <a:cubicBezTo>
                    <a:pt x="64539" y="26174"/>
                    <a:pt x="64539" y="26174"/>
                    <a:pt x="64539" y="26813"/>
                  </a:cubicBezTo>
                  <a:lnTo>
                    <a:pt x="64539" y="63201"/>
                  </a:lnTo>
                  <a:cubicBezTo>
                    <a:pt x="64539" y="67032"/>
                    <a:pt x="67734" y="69585"/>
                    <a:pt x="70929" y="69585"/>
                  </a:cubicBezTo>
                  <a:cubicBezTo>
                    <a:pt x="73484" y="69585"/>
                    <a:pt x="76040" y="67670"/>
                    <a:pt x="76679" y="65755"/>
                  </a:cubicBezTo>
                  <a:lnTo>
                    <a:pt x="88181" y="36389"/>
                  </a:lnTo>
                  <a:lnTo>
                    <a:pt x="81153" y="61925"/>
                  </a:lnTo>
                  <a:cubicBezTo>
                    <a:pt x="80514" y="65117"/>
                    <a:pt x="82430" y="68947"/>
                    <a:pt x="85625" y="69585"/>
                  </a:cubicBezTo>
                  <a:cubicBezTo>
                    <a:pt x="86264" y="69585"/>
                    <a:pt x="86904" y="69585"/>
                    <a:pt x="87543" y="69585"/>
                  </a:cubicBezTo>
                  <a:cubicBezTo>
                    <a:pt x="90738" y="69585"/>
                    <a:pt x="93294" y="67670"/>
                    <a:pt x="93933" y="65117"/>
                  </a:cubicBezTo>
                  <a:lnTo>
                    <a:pt x="105434" y="22344"/>
                  </a:lnTo>
                  <a:lnTo>
                    <a:pt x="108629" y="19790"/>
                  </a:lnTo>
                  <a:cubicBezTo>
                    <a:pt x="109269" y="19152"/>
                    <a:pt x="109907" y="19152"/>
                    <a:pt x="109907" y="18514"/>
                  </a:cubicBezTo>
                  <a:cubicBezTo>
                    <a:pt x="112464" y="15322"/>
                    <a:pt x="113102" y="10214"/>
                    <a:pt x="110546" y="7022"/>
                  </a:cubicBezTo>
                  <a:cubicBezTo>
                    <a:pt x="107990" y="3192"/>
                    <a:pt x="102879" y="1277"/>
                    <a:pt x="98405" y="255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Graphic 4">
              <a:extLst>
                <a:ext uri="{FF2B5EF4-FFF2-40B4-BE49-F238E27FC236}">
                  <a16:creationId xmlns:a16="http://schemas.microsoft.com/office/drawing/2014/main" xmlns="" id="{0E2C7A34-03FB-8F49-A6CA-26A0B37413C2}"/>
                </a:ext>
              </a:extLst>
            </p:cNvPr>
            <p:cNvSpPr/>
            <p:nvPr/>
          </p:nvSpPr>
          <p:spPr>
            <a:xfrm>
              <a:off x="6834676" y="1049689"/>
              <a:ext cx="53675" cy="53625"/>
            </a:xfrm>
            <a:custGeom>
              <a:avLst/>
              <a:gdLst>
                <a:gd name="connsiteX0" fmla="*/ 26838 w 53675"/>
                <a:gd name="connsiteY0" fmla="*/ 53625 h 53625"/>
                <a:gd name="connsiteX1" fmla="*/ 53676 w 53675"/>
                <a:gd name="connsiteY1" fmla="*/ 26813 h 53625"/>
                <a:gd name="connsiteX2" fmla="*/ 26838 w 53675"/>
                <a:gd name="connsiteY2" fmla="*/ 0 h 53625"/>
                <a:gd name="connsiteX3" fmla="*/ 0 w 53675"/>
                <a:gd name="connsiteY3" fmla="*/ 26813 h 53625"/>
                <a:gd name="connsiteX4" fmla="*/ 0 w 53675"/>
                <a:gd name="connsiteY4" fmla="*/ 26813 h 53625"/>
                <a:gd name="connsiteX5" fmla="*/ 26838 w 53675"/>
                <a:gd name="connsiteY5" fmla="*/ 53625 h 53625"/>
                <a:gd name="connsiteX6" fmla="*/ 26838 w 53675"/>
                <a:gd name="connsiteY6" fmla="*/ 12768 h 53625"/>
                <a:gd name="connsiteX7" fmla="*/ 40896 w 53675"/>
                <a:gd name="connsiteY7" fmla="*/ 26813 h 53625"/>
                <a:gd name="connsiteX8" fmla="*/ 26838 w 53675"/>
                <a:gd name="connsiteY8" fmla="*/ 40857 h 53625"/>
                <a:gd name="connsiteX9" fmla="*/ 12780 w 53675"/>
                <a:gd name="connsiteY9" fmla="*/ 26813 h 53625"/>
                <a:gd name="connsiteX10" fmla="*/ 12780 w 53675"/>
                <a:gd name="connsiteY10" fmla="*/ 26813 h 53625"/>
                <a:gd name="connsiteX11" fmla="*/ 26838 w 53675"/>
                <a:gd name="connsiteY11" fmla="*/ 12768 h 5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75" h="53625">
                  <a:moveTo>
                    <a:pt x="26838" y="53625"/>
                  </a:moveTo>
                  <a:cubicBezTo>
                    <a:pt x="41535" y="53625"/>
                    <a:pt x="53676" y="41496"/>
                    <a:pt x="53676" y="26813"/>
                  </a:cubicBezTo>
                  <a:cubicBezTo>
                    <a:pt x="53676" y="12130"/>
                    <a:pt x="41535" y="0"/>
                    <a:pt x="26838" y="0"/>
                  </a:cubicBezTo>
                  <a:cubicBezTo>
                    <a:pt x="12141" y="0"/>
                    <a:pt x="0" y="12130"/>
                    <a:pt x="0" y="26813"/>
                  </a:cubicBezTo>
                  <a:cubicBezTo>
                    <a:pt x="0" y="26813"/>
                    <a:pt x="0" y="26813"/>
                    <a:pt x="0" y="26813"/>
                  </a:cubicBezTo>
                  <a:cubicBezTo>
                    <a:pt x="0" y="41496"/>
                    <a:pt x="12141" y="53625"/>
                    <a:pt x="26838" y="53625"/>
                  </a:cubicBezTo>
                  <a:close/>
                  <a:moveTo>
                    <a:pt x="26838" y="12768"/>
                  </a:moveTo>
                  <a:cubicBezTo>
                    <a:pt x="34506" y="12768"/>
                    <a:pt x="40896" y="19152"/>
                    <a:pt x="40896" y="26813"/>
                  </a:cubicBezTo>
                  <a:cubicBezTo>
                    <a:pt x="40896" y="34473"/>
                    <a:pt x="34506" y="40857"/>
                    <a:pt x="26838" y="40857"/>
                  </a:cubicBezTo>
                  <a:cubicBezTo>
                    <a:pt x="19170" y="40857"/>
                    <a:pt x="12780" y="34473"/>
                    <a:pt x="12780" y="26813"/>
                  </a:cubicBezTo>
                  <a:cubicBezTo>
                    <a:pt x="12780" y="26813"/>
                    <a:pt x="12780" y="26813"/>
                    <a:pt x="12780" y="26813"/>
                  </a:cubicBezTo>
                  <a:cubicBezTo>
                    <a:pt x="12780" y="19152"/>
                    <a:pt x="19170" y="12768"/>
                    <a:pt x="26838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5" name="Graphic 4">
            <a:extLst>
              <a:ext uri="{FF2B5EF4-FFF2-40B4-BE49-F238E27FC236}">
                <a16:creationId xmlns:a16="http://schemas.microsoft.com/office/drawing/2014/main" xmlns="" id="{C2037D8E-F752-6F40-8C15-AD686091101C}"/>
              </a:ext>
            </a:extLst>
          </p:cNvPr>
          <p:cNvGrpSpPr/>
          <p:nvPr/>
        </p:nvGrpSpPr>
        <p:grpSpPr>
          <a:xfrm>
            <a:off x="6192623" y="3721295"/>
            <a:ext cx="540000" cy="540000"/>
            <a:chOff x="2998797" y="1885352"/>
            <a:chExt cx="361670" cy="361333"/>
          </a:xfrm>
          <a:solidFill>
            <a:schemeClr val="accent1"/>
          </a:solidFill>
        </p:grpSpPr>
        <p:sp>
          <p:nvSpPr>
            <p:cNvPr id="76" name="Graphic 4">
              <a:extLst>
                <a:ext uri="{FF2B5EF4-FFF2-40B4-BE49-F238E27FC236}">
                  <a16:creationId xmlns:a16="http://schemas.microsoft.com/office/drawing/2014/main" xmlns="" id="{D151F669-663F-374C-91D9-89A43CF2F2DE}"/>
                </a:ext>
              </a:extLst>
            </p:cNvPr>
            <p:cNvSpPr/>
            <p:nvPr/>
          </p:nvSpPr>
          <p:spPr>
            <a:xfrm>
              <a:off x="3161740" y="2011755"/>
              <a:ext cx="34505" cy="31919"/>
            </a:xfrm>
            <a:custGeom>
              <a:avLst/>
              <a:gdLst>
                <a:gd name="connsiteX0" fmla="*/ 34506 w 34505"/>
                <a:gd name="connsiteY0" fmla="*/ 12130 h 31919"/>
                <a:gd name="connsiteX1" fmla="*/ 26199 w 34505"/>
                <a:gd name="connsiteY1" fmla="*/ 10853 h 31919"/>
                <a:gd name="connsiteX2" fmla="*/ 21087 w 34505"/>
                <a:gd name="connsiteY2" fmla="*/ 7661 h 31919"/>
                <a:gd name="connsiteX3" fmla="*/ 17253 w 34505"/>
                <a:gd name="connsiteY3" fmla="*/ 0 h 31919"/>
                <a:gd name="connsiteX4" fmla="*/ 13419 w 34505"/>
                <a:gd name="connsiteY4" fmla="*/ 7661 h 31919"/>
                <a:gd name="connsiteX5" fmla="*/ 8307 w 34505"/>
                <a:gd name="connsiteY5" fmla="*/ 10853 h 31919"/>
                <a:gd name="connsiteX6" fmla="*/ 0 w 34505"/>
                <a:gd name="connsiteY6" fmla="*/ 12130 h 31919"/>
                <a:gd name="connsiteX7" fmla="*/ 5751 w 34505"/>
                <a:gd name="connsiteY7" fmla="*/ 17875 h 31919"/>
                <a:gd name="connsiteX8" fmla="*/ 7668 w 34505"/>
                <a:gd name="connsiteY8" fmla="*/ 23621 h 31919"/>
                <a:gd name="connsiteX9" fmla="*/ 6390 w 34505"/>
                <a:gd name="connsiteY9" fmla="*/ 31920 h 31919"/>
                <a:gd name="connsiteX10" fmla="*/ 14058 w 34505"/>
                <a:gd name="connsiteY10" fmla="*/ 28089 h 31919"/>
                <a:gd name="connsiteX11" fmla="*/ 17253 w 34505"/>
                <a:gd name="connsiteY11" fmla="*/ 27451 h 31919"/>
                <a:gd name="connsiteX12" fmla="*/ 20448 w 34505"/>
                <a:gd name="connsiteY12" fmla="*/ 28089 h 31919"/>
                <a:gd name="connsiteX13" fmla="*/ 28116 w 34505"/>
                <a:gd name="connsiteY13" fmla="*/ 31920 h 31919"/>
                <a:gd name="connsiteX14" fmla="*/ 26838 w 34505"/>
                <a:gd name="connsiteY14" fmla="*/ 23621 h 31919"/>
                <a:gd name="connsiteX15" fmla="*/ 28755 w 34505"/>
                <a:gd name="connsiteY15" fmla="*/ 17875 h 31919"/>
                <a:gd name="connsiteX16" fmla="*/ 34506 w 34505"/>
                <a:gd name="connsiteY16" fmla="*/ 12130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34506" y="12130"/>
                  </a:moveTo>
                  <a:lnTo>
                    <a:pt x="26199" y="10853"/>
                  </a:lnTo>
                  <a:cubicBezTo>
                    <a:pt x="24282" y="10853"/>
                    <a:pt x="22365" y="8938"/>
                    <a:pt x="21087" y="7661"/>
                  </a:cubicBez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xmlns="" id="{A6C61031-6CE4-454F-9790-70EEB013A35D}"/>
                </a:ext>
              </a:extLst>
            </p:cNvPr>
            <p:cNvSpPr/>
            <p:nvPr/>
          </p:nvSpPr>
          <p:spPr>
            <a:xfrm>
              <a:off x="3209026" y="2092193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xmlns="" id="{B3E36C1D-090D-E946-B1B1-EA23CC214DA9}"/>
                </a:ext>
              </a:extLst>
            </p:cNvPr>
            <p:cNvSpPr/>
            <p:nvPr/>
          </p:nvSpPr>
          <p:spPr>
            <a:xfrm>
              <a:off x="3115733" y="2092193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Graphic 4">
              <a:extLst>
                <a:ext uri="{FF2B5EF4-FFF2-40B4-BE49-F238E27FC236}">
                  <a16:creationId xmlns:a16="http://schemas.microsoft.com/office/drawing/2014/main" xmlns="" id="{1D43CBB5-93D0-4243-8F21-AFF430FDB421}"/>
                </a:ext>
              </a:extLst>
            </p:cNvPr>
            <p:cNvSpPr/>
            <p:nvPr/>
          </p:nvSpPr>
          <p:spPr>
            <a:xfrm>
              <a:off x="2998797" y="1885352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1 w 361670"/>
                <a:gd name="connsiteY3" fmla="*/ 180667 h 361333"/>
                <a:gd name="connsiteX4" fmla="*/ 180835 w 361670"/>
                <a:gd name="connsiteY4" fmla="*/ 0 h 361333"/>
                <a:gd name="connsiteX5" fmla="*/ 71567 w 361670"/>
                <a:gd name="connsiteY5" fmla="*/ 175560 h 361333"/>
                <a:gd name="connsiteX6" fmla="*/ 68372 w 361670"/>
                <a:gd name="connsiteY6" fmla="*/ 176198 h 361333"/>
                <a:gd name="connsiteX7" fmla="*/ 64538 w 361670"/>
                <a:gd name="connsiteY7" fmla="*/ 174921 h 361333"/>
                <a:gd name="connsiteX8" fmla="*/ 61982 w 361670"/>
                <a:gd name="connsiteY8" fmla="*/ 168537 h 361333"/>
                <a:gd name="connsiteX9" fmla="*/ 65177 w 361670"/>
                <a:gd name="connsiteY9" fmla="*/ 150662 h 361333"/>
                <a:gd name="connsiteX10" fmla="*/ 52398 w 361670"/>
                <a:gd name="connsiteY10" fmla="*/ 137894 h 361333"/>
                <a:gd name="connsiteX11" fmla="*/ 50481 w 361670"/>
                <a:gd name="connsiteY11" fmla="*/ 131510 h 361333"/>
                <a:gd name="connsiteX12" fmla="*/ 55593 w 361670"/>
                <a:gd name="connsiteY12" fmla="*/ 127041 h 361333"/>
                <a:gd name="connsiteX13" fmla="*/ 73484 w 361670"/>
                <a:gd name="connsiteY13" fmla="*/ 124488 h 361333"/>
                <a:gd name="connsiteX14" fmla="*/ 81152 w 361670"/>
                <a:gd name="connsiteY14" fmla="*/ 108528 h 361333"/>
                <a:gd name="connsiteX15" fmla="*/ 92654 w 361670"/>
                <a:gd name="connsiteY15" fmla="*/ 108528 h 361333"/>
                <a:gd name="connsiteX16" fmla="*/ 100322 w 361670"/>
                <a:gd name="connsiteY16" fmla="*/ 124488 h 361333"/>
                <a:gd name="connsiteX17" fmla="*/ 118214 w 361670"/>
                <a:gd name="connsiteY17" fmla="*/ 127041 h 361333"/>
                <a:gd name="connsiteX18" fmla="*/ 123326 w 361670"/>
                <a:gd name="connsiteY18" fmla="*/ 131510 h 361333"/>
                <a:gd name="connsiteX19" fmla="*/ 121409 w 361670"/>
                <a:gd name="connsiteY19" fmla="*/ 137894 h 361333"/>
                <a:gd name="connsiteX20" fmla="*/ 108629 w 361670"/>
                <a:gd name="connsiteY20" fmla="*/ 150662 h 361333"/>
                <a:gd name="connsiteX21" fmla="*/ 111824 w 361670"/>
                <a:gd name="connsiteY21" fmla="*/ 168537 h 361333"/>
                <a:gd name="connsiteX22" fmla="*/ 109268 w 361670"/>
                <a:gd name="connsiteY22" fmla="*/ 174921 h 361333"/>
                <a:gd name="connsiteX23" fmla="*/ 102239 w 361670"/>
                <a:gd name="connsiteY23" fmla="*/ 175560 h 361333"/>
                <a:gd name="connsiteX24" fmla="*/ 86264 w 361670"/>
                <a:gd name="connsiteY24" fmla="*/ 167260 h 361333"/>
                <a:gd name="connsiteX25" fmla="*/ 71567 w 361670"/>
                <a:gd name="connsiteY25" fmla="*/ 175560 h 361333"/>
                <a:gd name="connsiteX26" fmla="*/ 169333 w 361670"/>
                <a:gd name="connsiteY26" fmla="*/ 218971 h 361333"/>
                <a:gd name="connsiteX27" fmla="*/ 156553 w 361670"/>
                <a:gd name="connsiteY27" fmla="*/ 231738 h 361333"/>
                <a:gd name="connsiteX28" fmla="*/ 159748 w 361670"/>
                <a:gd name="connsiteY28" fmla="*/ 249614 h 361333"/>
                <a:gd name="connsiteX29" fmla="*/ 157192 w 361670"/>
                <a:gd name="connsiteY29" fmla="*/ 255998 h 361333"/>
                <a:gd name="connsiteX30" fmla="*/ 153358 w 361670"/>
                <a:gd name="connsiteY30" fmla="*/ 257274 h 361333"/>
                <a:gd name="connsiteX31" fmla="*/ 150164 w 361670"/>
                <a:gd name="connsiteY31" fmla="*/ 256636 h 361333"/>
                <a:gd name="connsiteX32" fmla="*/ 134189 w 361670"/>
                <a:gd name="connsiteY32" fmla="*/ 248337 h 361333"/>
                <a:gd name="connsiteX33" fmla="*/ 118214 w 361670"/>
                <a:gd name="connsiteY33" fmla="*/ 256636 h 361333"/>
                <a:gd name="connsiteX34" fmla="*/ 111185 w 361670"/>
                <a:gd name="connsiteY34" fmla="*/ 255998 h 361333"/>
                <a:gd name="connsiteX35" fmla="*/ 108629 w 361670"/>
                <a:gd name="connsiteY35" fmla="*/ 249614 h 361333"/>
                <a:gd name="connsiteX36" fmla="*/ 111824 w 361670"/>
                <a:gd name="connsiteY36" fmla="*/ 231738 h 361333"/>
                <a:gd name="connsiteX37" fmla="*/ 99044 w 361670"/>
                <a:gd name="connsiteY37" fmla="*/ 218971 h 361333"/>
                <a:gd name="connsiteX38" fmla="*/ 97127 w 361670"/>
                <a:gd name="connsiteY38" fmla="*/ 212587 h 361333"/>
                <a:gd name="connsiteX39" fmla="*/ 102239 w 361670"/>
                <a:gd name="connsiteY39" fmla="*/ 208118 h 361333"/>
                <a:gd name="connsiteX40" fmla="*/ 120131 w 361670"/>
                <a:gd name="connsiteY40" fmla="*/ 205564 h 361333"/>
                <a:gd name="connsiteX41" fmla="*/ 127799 w 361670"/>
                <a:gd name="connsiteY41" fmla="*/ 189604 h 361333"/>
                <a:gd name="connsiteX42" fmla="*/ 139301 w 361670"/>
                <a:gd name="connsiteY42" fmla="*/ 189604 h 361333"/>
                <a:gd name="connsiteX43" fmla="*/ 146969 w 361670"/>
                <a:gd name="connsiteY43" fmla="*/ 205564 h 361333"/>
                <a:gd name="connsiteX44" fmla="*/ 164861 w 361670"/>
                <a:gd name="connsiteY44" fmla="*/ 208118 h 361333"/>
                <a:gd name="connsiteX45" fmla="*/ 169972 w 361670"/>
                <a:gd name="connsiteY45" fmla="*/ 212587 h 361333"/>
                <a:gd name="connsiteX46" fmla="*/ 169333 w 361670"/>
                <a:gd name="connsiteY46" fmla="*/ 218971 h 361333"/>
                <a:gd name="connsiteX47" fmla="*/ 180835 w 361670"/>
                <a:gd name="connsiteY47" fmla="*/ 167260 h 361333"/>
                <a:gd name="connsiteX48" fmla="*/ 164861 w 361670"/>
                <a:gd name="connsiteY48" fmla="*/ 175560 h 361333"/>
                <a:gd name="connsiteX49" fmla="*/ 161666 w 361670"/>
                <a:gd name="connsiteY49" fmla="*/ 176198 h 361333"/>
                <a:gd name="connsiteX50" fmla="*/ 157832 w 361670"/>
                <a:gd name="connsiteY50" fmla="*/ 174921 h 361333"/>
                <a:gd name="connsiteX51" fmla="*/ 155276 w 361670"/>
                <a:gd name="connsiteY51" fmla="*/ 168537 h 361333"/>
                <a:gd name="connsiteX52" fmla="*/ 158471 w 361670"/>
                <a:gd name="connsiteY52" fmla="*/ 150662 h 361333"/>
                <a:gd name="connsiteX53" fmla="*/ 145691 w 361670"/>
                <a:gd name="connsiteY53" fmla="*/ 137894 h 361333"/>
                <a:gd name="connsiteX54" fmla="*/ 143774 w 361670"/>
                <a:gd name="connsiteY54" fmla="*/ 131510 h 361333"/>
                <a:gd name="connsiteX55" fmla="*/ 148886 w 361670"/>
                <a:gd name="connsiteY55" fmla="*/ 127041 h 361333"/>
                <a:gd name="connsiteX56" fmla="*/ 166777 w 361670"/>
                <a:gd name="connsiteY56" fmla="*/ 124488 h 361333"/>
                <a:gd name="connsiteX57" fmla="*/ 174445 w 361670"/>
                <a:gd name="connsiteY57" fmla="*/ 108528 h 361333"/>
                <a:gd name="connsiteX58" fmla="*/ 185947 w 361670"/>
                <a:gd name="connsiteY58" fmla="*/ 108528 h 361333"/>
                <a:gd name="connsiteX59" fmla="*/ 193615 w 361670"/>
                <a:gd name="connsiteY59" fmla="*/ 124488 h 361333"/>
                <a:gd name="connsiteX60" fmla="*/ 211507 w 361670"/>
                <a:gd name="connsiteY60" fmla="*/ 127041 h 361333"/>
                <a:gd name="connsiteX61" fmla="*/ 216619 w 361670"/>
                <a:gd name="connsiteY61" fmla="*/ 131510 h 361333"/>
                <a:gd name="connsiteX62" fmla="*/ 214702 w 361670"/>
                <a:gd name="connsiteY62" fmla="*/ 137894 h 361333"/>
                <a:gd name="connsiteX63" fmla="*/ 201922 w 361670"/>
                <a:gd name="connsiteY63" fmla="*/ 150662 h 361333"/>
                <a:gd name="connsiteX64" fmla="*/ 205117 w 361670"/>
                <a:gd name="connsiteY64" fmla="*/ 168537 h 361333"/>
                <a:gd name="connsiteX65" fmla="*/ 202561 w 361670"/>
                <a:gd name="connsiteY65" fmla="*/ 174921 h 361333"/>
                <a:gd name="connsiteX66" fmla="*/ 195532 w 361670"/>
                <a:gd name="connsiteY66" fmla="*/ 175560 h 361333"/>
                <a:gd name="connsiteX67" fmla="*/ 180835 w 361670"/>
                <a:gd name="connsiteY67" fmla="*/ 167260 h 361333"/>
                <a:gd name="connsiteX68" fmla="*/ 262626 w 361670"/>
                <a:gd name="connsiteY68" fmla="*/ 218971 h 361333"/>
                <a:gd name="connsiteX69" fmla="*/ 249847 w 361670"/>
                <a:gd name="connsiteY69" fmla="*/ 231738 h 361333"/>
                <a:gd name="connsiteX70" fmla="*/ 253042 w 361670"/>
                <a:gd name="connsiteY70" fmla="*/ 249614 h 361333"/>
                <a:gd name="connsiteX71" fmla="*/ 250486 w 361670"/>
                <a:gd name="connsiteY71" fmla="*/ 255998 h 361333"/>
                <a:gd name="connsiteX72" fmla="*/ 246652 w 361670"/>
                <a:gd name="connsiteY72" fmla="*/ 257274 h 361333"/>
                <a:gd name="connsiteX73" fmla="*/ 243457 w 361670"/>
                <a:gd name="connsiteY73" fmla="*/ 256636 h 361333"/>
                <a:gd name="connsiteX74" fmla="*/ 227482 w 361670"/>
                <a:gd name="connsiteY74" fmla="*/ 248337 h 361333"/>
                <a:gd name="connsiteX75" fmla="*/ 211507 w 361670"/>
                <a:gd name="connsiteY75" fmla="*/ 256636 h 361333"/>
                <a:gd name="connsiteX76" fmla="*/ 204478 w 361670"/>
                <a:gd name="connsiteY76" fmla="*/ 255998 h 361333"/>
                <a:gd name="connsiteX77" fmla="*/ 201922 w 361670"/>
                <a:gd name="connsiteY77" fmla="*/ 249614 h 361333"/>
                <a:gd name="connsiteX78" fmla="*/ 205117 w 361670"/>
                <a:gd name="connsiteY78" fmla="*/ 231738 h 361333"/>
                <a:gd name="connsiteX79" fmla="*/ 192337 w 361670"/>
                <a:gd name="connsiteY79" fmla="*/ 218971 h 361333"/>
                <a:gd name="connsiteX80" fmla="*/ 190420 w 361670"/>
                <a:gd name="connsiteY80" fmla="*/ 212587 h 361333"/>
                <a:gd name="connsiteX81" fmla="*/ 195532 w 361670"/>
                <a:gd name="connsiteY81" fmla="*/ 208118 h 361333"/>
                <a:gd name="connsiteX82" fmla="*/ 213424 w 361670"/>
                <a:gd name="connsiteY82" fmla="*/ 205564 h 361333"/>
                <a:gd name="connsiteX83" fmla="*/ 221092 w 361670"/>
                <a:gd name="connsiteY83" fmla="*/ 189604 h 361333"/>
                <a:gd name="connsiteX84" fmla="*/ 232594 w 361670"/>
                <a:gd name="connsiteY84" fmla="*/ 189604 h 361333"/>
                <a:gd name="connsiteX85" fmla="*/ 240262 w 361670"/>
                <a:gd name="connsiteY85" fmla="*/ 205564 h 361333"/>
                <a:gd name="connsiteX86" fmla="*/ 258154 w 361670"/>
                <a:gd name="connsiteY86" fmla="*/ 208118 h 361333"/>
                <a:gd name="connsiteX87" fmla="*/ 263266 w 361670"/>
                <a:gd name="connsiteY87" fmla="*/ 212587 h 361333"/>
                <a:gd name="connsiteX88" fmla="*/ 262626 w 361670"/>
                <a:gd name="connsiteY88" fmla="*/ 218971 h 361333"/>
                <a:gd name="connsiteX89" fmla="*/ 295854 w 361670"/>
                <a:gd name="connsiteY89" fmla="*/ 151300 h 361333"/>
                <a:gd name="connsiteX90" fmla="*/ 299049 w 361670"/>
                <a:gd name="connsiteY90" fmla="*/ 169176 h 361333"/>
                <a:gd name="connsiteX91" fmla="*/ 296493 w 361670"/>
                <a:gd name="connsiteY91" fmla="*/ 175560 h 361333"/>
                <a:gd name="connsiteX92" fmla="*/ 289464 w 361670"/>
                <a:gd name="connsiteY92" fmla="*/ 176198 h 361333"/>
                <a:gd name="connsiteX93" fmla="*/ 273489 w 361670"/>
                <a:gd name="connsiteY93" fmla="*/ 167899 h 361333"/>
                <a:gd name="connsiteX94" fmla="*/ 257515 w 361670"/>
                <a:gd name="connsiteY94" fmla="*/ 176198 h 361333"/>
                <a:gd name="connsiteX95" fmla="*/ 254320 w 361670"/>
                <a:gd name="connsiteY95" fmla="*/ 176836 h 361333"/>
                <a:gd name="connsiteX96" fmla="*/ 250486 w 361670"/>
                <a:gd name="connsiteY96" fmla="*/ 175560 h 361333"/>
                <a:gd name="connsiteX97" fmla="*/ 247930 w 361670"/>
                <a:gd name="connsiteY97" fmla="*/ 169176 h 361333"/>
                <a:gd name="connsiteX98" fmla="*/ 251125 w 361670"/>
                <a:gd name="connsiteY98" fmla="*/ 151300 h 361333"/>
                <a:gd name="connsiteX99" fmla="*/ 238345 w 361670"/>
                <a:gd name="connsiteY99" fmla="*/ 138532 h 361333"/>
                <a:gd name="connsiteX100" fmla="*/ 236428 w 361670"/>
                <a:gd name="connsiteY100" fmla="*/ 132148 h 361333"/>
                <a:gd name="connsiteX101" fmla="*/ 241540 w 361670"/>
                <a:gd name="connsiteY101" fmla="*/ 127680 h 361333"/>
                <a:gd name="connsiteX102" fmla="*/ 259431 w 361670"/>
                <a:gd name="connsiteY102" fmla="*/ 125126 h 361333"/>
                <a:gd name="connsiteX103" fmla="*/ 267100 w 361670"/>
                <a:gd name="connsiteY103" fmla="*/ 109166 h 361333"/>
                <a:gd name="connsiteX104" fmla="*/ 278602 w 361670"/>
                <a:gd name="connsiteY104" fmla="*/ 109166 h 361333"/>
                <a:gd name="connsiteX105" fmla="*/ 286269 w 361670"/>
                <a:gd name="connsiteY105" fmla="*/ 125126 h 361333"/>
                <a:gd name="connsiteX106" fmla="*/ 304161 w 361670"/>
                <a:gd name="connsiteY106" fmla="*/ 127680 h 361333"/>
                <a:gd name="connsiteX107" fmla="*/ 309273 w 361670"/>
                <a:gd name="connsiteY107" fmla="*/ 132148 h 361333"/>
                <a:gd name="connsiteX108" fmla="*/ 307356 w 361670"/>
                <a:gd name="connsiteY108" fmla="*/ 138532 h 361333"/>
                <a:gd name="connsiteX109" fmla="*/ 295854 w 361670"/>
                <a:gd name="connsiteY109" fmla="*/ 151300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6"/>
                    <a:pt x="281157" y="0"/>
                    <a:pt x="180835" y="0"/>
                  </a:cubicBezTo>
                  <a:close/>
                  <a:moveTo>
                    <a:pt x="71567" y="175560"/>
                  </a:moveTo>
                  <a:cubicBezTo>
                    <a:pt x="70928" y="176198"/>
                    <a:pt x="69650" y="176198"/>
                    <a:pt x="68372" y="176198"/>
                  </a:cubicBezTo>
                  <a:cubicBezTo>
                    <a:pt x="67094" y="176198"/>
                    <a:pt x="65816" y="175560"/>
                    <a:pt x="64538" y="174921"/>
                  </a:cubicBezTo>
                  <a:cubicBezTo>
                    <a:pt x="62622" y="173644"/>
                    <a:pt x="61343" y="171091"/>
                    <a:pt x="61982" y="168537"/>
                  </a:cubicBezTo>
                  <a:lnTo>
                    <a:pt x="65177" y="150662"/>
                  </a:lnTo>
                  <a:lnTo>
                    <a:pt x="52398" y="137894"/>
                  </a:lnTo>
                  <a:cubicBezTo>
                    <a:pt x="50481" y="135979"/>
                    <a:pt x="49842" y="133425"/>
                    <a:pt x="50481" y="131510"/>
                  </a:cubicBezTo>
                  <a:cubicBezTo>
                    <a:pt x="51119" y="128956"/>
                    <a:pt x="53037" y="127680"/>
                    <a:pt x="55593" y="127041"/>
                  </a:cubicBezTo>
                  <a:lnTo>
                    <a:pt x="73484" y="124488"/>
                  </a:lnTo>
                  <a:lnTo>
                    <a:pt x="81152" y="108528"/>
                  </a:lnTo>
                  <a:cubicBezTo>
                    <a:pt x="83069" y="104059"/>
                    <a:pt x="90737" y="104059"/>
                    <a:pt x="92654" y="108528"/>
                  </a:cubicBezTo>
                  <a:lnTo>
                    <a:pt x="100322" y="124488"/>
                  </a:lnTo>
                  <a:lnTo>
                    <a:pt x="118214" y="127041"/>
                  </a:lnTo>
                  <a:cubicBezTo>
                    <a:pt x="120770" y="127680"/>
                    <a:pt x="122687" y="128956"/>
                    <a:pt x="123326" y="131510"/>
                  </a:cubicBezTo>
                  <a:cubicBezTo>
                    <a:pt x="123965" y="134064"/>
                    <a:pt x="123326" y="136617"/>
                    <a:pt x="121409" y="137894"/>
                  </a:cubicBezTo>
                  <a:lnTo>
                    <a:pt x="108629" y="150662"/>
                  </a:lnTo>
                  <a:lnTo>
                    <a:pt x="111824" y="168537"/>
                  </a:lnTo>
                  <a:cubicBezTo>
                    <a:pt x="112463" y="171091"/>
                    <a:pt x="111185" y="173644"/>
                    <a:pt x="109268" y="174921"/>
                  </a:cubicBezTo>
                  <a:cubicBezTo>
                    <a:pt x="107351" y="176198"/>
                    <a:pt x="104795" y="176836"/>
                    <a:pt x="102239" y="175560"/>
                  </a:cubicBezTo>
                  <a:lnTo>
                    <a:pt x="86264" y="167260"/>
                  </a:lnTo>
                  <a:lnTo>
                    <a:pt x="71567" y="175560"/>
                  </a:lnTo>
                  <a:close/>
                  <a:moveTo>
                    <a:pt x="169333" y="218971"/>
                  </a:moveTo>
                  <a:lnTo>
                    <a:pt x="156553" y="231738"/>
                  </a:lnTo>
                  <a:lnTo>
                    <a:pt x="159748" y="249614"/>
                  </a:lnTo>
                  <a:cubicBezTo>
                    <a:pt x="160387" y="252167"/>
                    <a:pt x="159110" y="254721"/>
                    <a:pt x="157192" y="255998"/>
                  </a:cubicBezTo>
                  <a:cubicBezTo>
                    <a:pt x="155915" y="256636"/>
                    <a:pt x="154637" y="257274"/>
                    <a:pt x="153358" y="257274"/>
                  </a:cubicBezTo>
                  <a:cubicBezTo>
                    <a:pt x="152081" y="257274"/>
                    <a:pt x="151442" y="257274"/>
                    <a:pt x="150164" y="256636"/>
                  </a:cubicBezTo>
                  <a:lnTo>
                    <a:pt x="134189" y="248337"/>
                  </a:lnTo>
                  <a:lnTo>
                    <a:pt x="118214" y="256636"/>
                  </a:lnTo>
                  <a:cubicBezTo>
                    <a:pt x="116297" y="257913"/>
                    <a:pt x="113741" y="257274"/>
                    <a:pt x="111185" y="255998"/>
                  </a:cubicBezTo>
                  <a:cubicBezTo>
                    <a:pt x="109268" y="254721"/>
                    <a:pt x="107990" y="252167"/>
                    <a:pt x="108629" y="249614"/>
                  </a:cubicBezTo>
                  <a:lnTo>
                    <a:pt x="111824" y="231738"/>
                  </a:lnTo>
                  <a:lnTo>
                    <a:pt x="99044" y="218971"/>
                  </a:lnTo>
                  <a:cubicBezTo>
                    <a:pt x="97127" y="217055"/>
                    <a:pt x="96488" y="214502"/>
                    <a:pt x="97127" y="212587"/>
                  </a:cubicBezTo>
                  <a:cubicBezTo>
                    <a:pt x="97766" y="210033"/>
                    <a:pt x="99683" y="208756"/>
                    <a:pt x="102239" y="208118"/>
                  </a:cubicBezTo>
                  <a:lnTo>
                    <a:pt x="120131" y="205564"/>
                  </a:lnTo>
                  <a:lnTo>
                    <a:pt x="127799" y="189604"/>
                  </a:lnTo>
                  <a:cubicBezTo>
                    <a:pt x="129716" y="185135"/>
                    <a:pt x="137384" y="185135"/>
                    <a:pt x="139301" y="189604"/>
                  </a:cubicBezTo>
                  <a:lnTo>
                    <a:pt x="146969" y="205564"/>
                  </a:lnTo>
                  <a:lnTo>
                    <a:pt x="164861" y="208118"/>
                  </a:lnTo>
                  <a:cubicBezTo>
                    <a:pt x="167416" y="208756"/>
                    <a:pt x="169333" y="210033"/>
                    <a:pt x="169972" y="212587"/>
                  </a:cubicBezTo>
                  <a:cubicBezTo>
                    <a:pt x="171889" y="215140"/>
                    <a:pt x="171250" y="217694"/>
                    <a:pt x="169333" y="218971"/>
                  </a:cubicBezTo>
                  <a:close/>
                  <a:moveTo>
                    <a:pt x="180835" y="167260"/>
                  </a:moveTo>
                  <a:lnTo>
                    <a:pt x="164861" y="175560"/>
                  </a:lnTo>
                  <a:cubicBezTo>
                    <a:pt x="164221" y="176198"/>
                    <a:pt x="162943" y="176198"/>
                    <a:pt x="161666" y="176198"/>
                  </a:cubicBezTo>
                  <a:cubicBezTo>
                    <a:pt x="160387" y="176198"/>
                    <a:pt x="159110" y="175560"/>
                    <a:pt x="157832" y="174921"/>
                  </a:cubicBezTo>
                  <a:cubicBezTo>
                    <a:pt x="155915" y="173644"/>
                    <a:pt x="154637" y="171091"/>
                    <a:pt x="155276" y="168537"/>
                  </a:cubicBezTo>
                  <a:lnTo>
                    <a:pt x="158471" y="150662"/>
                  </a:lnTo>
                  <a:lnTo>
                    <a:pt x="145691" y="137894"/>
                  </a:lnTo>
                  <a:cubicBezTo>
                    <a:pt x="143774" y="135979"/>
                    <a:pt x="143135" y="133425"/>
                    <a:pt x="143774" y="131510"/>
                  </a:cubicBezTo>
                  <a:cubicBezTo>
                    <a:pt x="144413" y="128956"/>
                    <a:pt x="146330" y="127680"/>
                    <a:pt x="148886" y="127041"/>
                  </a:cubicBezTo>
                  <a:lnTo>
                    <a:pt x="166777" y="124488"/>
                  </a:lnTo>
                  <a:lnTo>
                    <a:pt x="174445" y="108528"/>
                  </a:lnTo>
                  <a:cubicBezTo>
                    <a:pt x="176362" y="104059"/>
                    <a:pt x="184030" y="104059"/>
                    <a:pt x="185947" y="108528"/>
                  </a:cubicBezTo>
                  <a:lnTo>
                    <a:pt x="193615" y="124488"/>
                  </a:lnTo>
                  <a:lnTo>
                    <a:pt x="211507" y="127041"/>
                  </a:lnTo>
                  <a:cubicBezTo>
                    <a:pt x="214063" y="127680"/>
                    <a:pt x="215980" y="128956"/>
                    <a:pt x="216619" y="131510"/>
                  </a:cubicBezTo>
                  <a:cubicBezTo>
                    <a:pt x="217258" y="134064"/>
                    <a:pt x="216619" y="136617"/>
                    <a:pt x="214702" y="137894"/>
                  </a:cubicBezTo>
                  <a:lnTo>
                    <a:pt x="201922" y="150662"/>
                  </a:lnTo>
                  <a:lnTo>
                    <a:pt x="205117" y="168537"/>
                  </a:lnTo>
                  <a:cubicBezTo>
                    <a:pt x="205756" y="171091"/>
                    <a:pt x="204478" y="173644"/>
                    <a:pt x="202561" y="174921"/>
                  </a:cubicBezTo>
                  <a:cubicBezTo>
                    <a:pt x="200644" y="176198"/>
                    <a:pt x="198088" y="176836"/>
                    <a:pt x="195532" y="175560"/>
                  </a:cubicBezTo>
                  <a:lnTo>
                    <a:pt x="180835" y="167260"/>
                  </a:lnTo>
                  <a:close/>
                  <a:moveTo>
                    <a:pt x="262626" y="218971"/>
                  </a:moveTo>
                  <a:lnTo>
                    <a:pt x="249847" y="231738"/>
                  </a:lnTo>
                  <a:lnTo>
                    <a:pt x="253042" y="249614"/>
                  </a:lnTo>
                  <a:cubicBezTo>
                    <a:pt x="253681" y="252167"/>
                    <a:pt x="252403" y="254721"/>
                    <a:pt x="250486" y="255998"/>
                  </a:cubicBezTo>
                  <a:cubicBezTo>
                    <a:pt x="249208" y="256636"/>
                    <a:pt x="247930" y="257274"/>
                    <a:pt x="246652" y="257274"/>
                  </a:cubicBezTo>
                  <a:cubicBezTo>
                    <a:pt x="245374" y="257274"/>
                    <a:pt x="244735" y="257274"/>
                    <a:pt x="243457" y="256636"/>
                  </a:cubicBezTo>
                  <a:lnTo>
                    <a:pt x="227482" y="248337"/>
                  </a:lnTo>
                  <a:lnTo>
                    <a:pt x="211507" y="256636"/>
                  </a:lnTo>
                  <a:cubicBezTo>
                    <a:pt x="209590" y="257913"/>
                    <a:pt x="207034" y="257274"/>
                    <a:pt x="204478" y="255998"/>
                  </a:cubicBezTo>
                  <a:cubicBezTo>
                    <a:pt x="202561" y="254721"/>
                    <a:pt x="201283" y="252167"/>
                    <a:pt x="201922" y="249614"/>
                  </a:cubicBezTo>
                  <a:lnTo>
                    <a:pt x="205117" y="231738"/>
                  </a:lnTo>
                  <a:lnTo>
                    <a:pt x="192337" y="218971"/>
                  </a:lnTo>
                  <a:cubicBezTo>
                    <a:pt x="190420" y="217055"/>
                    <a:pt x="189781" y="214502"/>
                    <a:pt x="190420" y="212587"/>
                  </a:cubicBezTo>
                  <a:cubicBezTo>
                    <a:pt x="191059" y="210033"/>
                    <a:pt x="192976" y="208756"/>
                    <a:pt x="195532" y="208118"/>
                  </a:cubicBezTo>
                  <a:lnTo>
                    <a:pt x="213424" y="205564"/>
                  </a:lnTo>
                  <a:lnTo>
                    <a:pt x="221092" y="189604"/>
                  </a:lnTo>
                  <a:cubicBezTo>
                    <a:pt x="223009" y="185135"/>
                    <a:pt x="230677" y="185135"/>
                    <a:pt x="232594" y="189604"/>
                  </a:cubicBezTo>
                  <a:lnTo>
                    <a:pt x="240262" y="205564"/>
                  </a:lnTo>
                  <a:lnTo>
                    <a:pt x="258154" y="208118"/>
                  </a:lnTo>
                  <a:cubicBezTo>
                    <a:pt x="260710" y="208756"/>
                    <a:pt x="262626" y="210033"/>
                    <a:pt x="263266" y="212587"/>
                  </a:cubicBezTo>
                  <a:cubicBezTo>
                    <a:pt x="264544" y="215140"/>
                    <a:pt x="263905" y="217694"/>
                    <a:pt x="262626" y="218971"/>
                  </a:cubicBezTo>
                  <a:close/>
                  <a:moveTo>
                    <a:pt x="295854" y="151300"/>
                  </a:moveTo>
                  <a:lnTo>
                    <a:pt x="299049" y="169176"/>
                  </a:lnTo>
                  <a:cubicBezTo>
                    <a:pt x="299688" y="171729"/>
                    <a:pt x="298410" y="174283"/>
                    <a:pt x="296493" y="175560"/>
                  </a:cubicBezTo>
                  <a:cubicBezTo>
                    <a:pt x="294576" y="176836"/>
                    <a:pt x="292020" y="177475"/>
                    <a:pt x="289464" y="176198"/>
                  </a:cubicBezTo>
                  <a:lnTo>
                    <a:pt x="273489" y="167899"/>
                  </a:lnTo>
                  <a:lnTo>
                    <a:pt x="257515" y="176198"/>
                  </a:lnTo>
                  <a:cubicBezTo>
                    <a:pt x="256876" y="176836"/>
                    <a:pt x="255597" y="176836"/>
                    <a:pt x="254320" y="176836"/>
                  </a:cubicBezTo>
                  <a:cubicBezTo>
                    <a:pt x="253042" y="176836"/>
                    <a:pt x="251764" y="176198"/>
                    <a:pt x="250486" y="175560"/>
                  </a:cubicBezTo>
                  <a:cubicBezTo>
                    <a:pt x="248569" y="174283"/>
                    <a:pt x="247291" y="171729"/>
                    <a:pt x="247930" y="169176"/>
                  </a:cubicBezTo>
                  <a:lnTo>
                    <a:pt x="251125" y="151300"/>
                  </a:lnTo>
                  <a:lnTo>
                    <a:pt x="238345" y="138532"/>
                  </a:lnTo>
                  <a:cubicBezTo>
                    <a:pt x="236428" y="136617"/>
                    <a:pt x="235789" y="134064"/>
                    <a:pt x="236428" y="132148"/>
                  </a:cubicBezTo>
                  <a:cubicBezTo>
                    <a:pt x="237067" y="129595"/>
                    <a:pt x="238984" y="128318"/>
                    <a:pt x="241540" y="127680"/>
                  </a:cubicBezTo>
                  <a:lnTo>
                    <a:pt x="259431" y="125126"/>
                  </a:lnTo>
                  <a:lnTo>
                    <a:pt x="267100" y="109166"/>
                  </a:lnTo>
                  <a:cubicBezTo>
                    <a:pt x="269016" y="104697"/>
                    <a:pt x="276684" y="104697"/>
                    <a:pt x="278602" y="109166"/>
                  </a:cubicBezTo>
                  <a:lnTo>
                    <a:pt x="286269" y="125126"/>
                  </a:lnTo>
                  <a:lnTo>
                    <a:pt x="304161" y="127680"/>
                  </a:lnTo>
                  <a:cubicBezTo>
                    <a:pt x="306717" y="128318"/>
                    <a:pt x="308634" y="129595"/>
                    <a:pt x="309273" y="132148"/>
                  </a:cubicBezTo>
                  <a:cubicBezTo>
                    <a:pt x="309912" y="134702"/>
                    <a:pt x="309273" y="137256"/>
                    <a:pt x="307356" y="138532"/>
                  </a:cubicBezTo>
                  <a:lnTo>
                    <a:pt x="295854" y="1513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Graphic 4">
              <a:extLst>
                <a:ext uri="{FF2B5EF4-FFF2-40B4-BE49-F238E27FC236}">
                  <a16:creationId xmlns:a16="http://schemas.microsoft.com/office/drawing/2014/main" xmlns="" id="{096DAAFB-29FD-B748-9B6B-C4EC458C4269}"/>
                </a:ext>
              </a:extLst>
            </p:cNvPr>
            <p:cNvSpPr/>
            <p:nvPr/>
          </p:nvSpPr>
          <p:spPr>
            <a:xfrm>
              <a:off x="3255672" y="2011755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Graphic 4">
              <a:extLst>
                <a:ext uri="{FF2B5EF4-FFF2-40B4-BE49-F238E27FC236}">
                  <a16:creationId xmlns:a16="http://schemas.microsoft.com/office/drawing/2014/main" xmlns="" id="{12C783DE-B189-294C-BECB-43378680C6A8}"/>
                </a:ext>
              </a:extLst>
            </p:cNvPr>
            <p:cNvSpPr/>
            <p:nvPr/>
          </p:nvSpPr>
          <p:spPr>
            <a:xfrm>
              <a:off x="3069086" y="2011755"/>
              <a:ext cx="34505" cy="31919"/>
            </a:xfrm>
            <a:custGeom>
              <a:avLst/>
              <a:gdLst>
                <a:gd name="connsiteX0" fmla="*/ 34506 w 34505"/>
                <a:gd name="connsiteY0" fmla="*/ 12130 h 31919"/>
                <a:gd name="connsiteX1" fmla="*/ 26199 w 34505"/>
                <a:gd name="connsiteY1" fmla="*/ 10853 h 31919"/>
                <a:gd name="connsiteX2" fmla="*/ 21087 w 34505"/>
                <a:gd name="connsiteY2" fmla="*/ 7661 h 31919"/>
                <a:gd name="connsiteX3" fmla="*/ 17253 w 34505"/>
                <a:gd name="connsiteY3" fmla="*/ 0 h 31919"/>
                <a:gd name="connsiteX4" fmla="*/ 13419 w 34505"/>
                <a:gd name="connsiteY4" fmla="*/ 7661 h 31919"/>
                <a:gd name="connsiteX5" fmla="*/ 8307 w 34505"/>
                <a:gd name="connsiteY5" fmla="*/ 10853 h 31919"/>
                <a:gd name="connsiteX6" fmla="*/ 0 w 34505"/>
                <a:gd name="connsiteY6" fmla="*/ 12130 h 31919"/>
                <a:gd name="connsiteX7" fmla="*/ 5751 w 34505"/>
                <a:gd name="connsiteY7" fmla="*/ 17875 h 31919"/>
                <a:gd name="connsiteX8" fmla="*/ 7668 w 34505"/>
                <a:gd name="connsiteY8" fmla="*/ 23621 h 31919"/>
                <a:gd name="connsiteX9" fmla="*/ 6390 w 34505"/>
                <a:gd name="connsiteY9" fmla="*/ 31920 h 31919"/>
                <a:gd name="connsiteX10" fmla="*/ 14058 w 34505"/>
                <a:gd name="connsiteY10" fmla="*/ 28089 h 31919"/>
                <a:gd name="connsiteX11" fmla="*/ 17253 w 34505"/>
                <a:gd name="connsiteY11" fmla="*/ 27451 h 31919"/>
                <a:gd name="connsiteX12" fmla="*/ 20448 w 34505"/>
                <a:gd name="connsiteY12" fmla="*/ 28089 h 31919"/>
                <a:gd name="connsiteX13" fmla="*/ 28116 w 34505"/>
                <a:gd name="connsiteY13" fmla="*/ 31920 h 31919"/>
                <a:gd name="connsiteX14" fmla="*/ 26838 w 34505"/>
                <a:gd name="connsiteY14" fmla="*/ 23621 h 31919"/>
                <a:gd name="connsiteX15" fmla="*/ 28755 w 34505"/>
                <a:gd name="connsiteY15" fmla="*/ 17875 h 31919"/>
                <a:gd name="connsiteX16" fmla="*/ 34506 w 34505"/>
                <a:gd name="connsiteY16" fmla="*/ 12130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34506" y="12130"/>
                  </a:moveTo>
                  <a:lnTo>
                    <a:pt x="26199" y="10853"/>
                  </a:lnTo>
                  <a:cubicBezTo>
                    <a:pt x="24282" y="10853"/>
                    <a:pt x="22365" y="8938"/>
                    <a:pt x="21087" y="7661"/>
                  </a:cubicBez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9" name="Content Placeholder 2"/>
          <p:cNvSpPr txBox="1">
            <a:spLocks/>
          </p:cNvSpPr>
          <p:nvPr/>
        </p:nvSpPr>
        <p:spPr>
          <a:xfrm>
            <a:off x="8745811" y="4135029"/>
            <a:ext cx="3014072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2022 году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юристы ДРТ был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отмечены сразу в 11 номинациях рейтинга «Право-300»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Наша команда заняла места в Группе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I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в категориях «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Комплаен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», «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Налоговые споры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», «Экологическое право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», а также в Группе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II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в категории «Интеллектуальна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собственность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»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5554562" y="514311"/>
            <a:ext cx="6180237" cy="1046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Наши приоритеты —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это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сплоченная команда, ее знания, опыт и нацеленность на результат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Мы продолжаем оказывать своим клиентам услуги в полном объеме с неизменно высоким уровнем качества, как это было на протяжении 30 лет нашей работы на рынке.</a:t>
            </a:r>
          </a:p>
        </p:txBody>
      </p:sp>
      <p:sp>
        <p:nvSpPr>
          <p:cNvPr id="111" name="Content Placeholder 2"/>
          <p:cNvSpPr txBox="1">
            <a:spLocks/>
          </p:cNvSpPr>
          <p:nvPr/>
        </p:nvSpPr>
        <p:spPr>
          <a:xfrm>
            <a:off x="1288058" y="3738927"/>
            <a:ext cx="4232168" cy="2585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Мы сконцентрированы на том, чтобы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DC63F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предоставлять своим клиентам решения и технологии,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позволяющие не только справляться со стремительными изменениями внешней среды, но и становиться движущей силой таких изменений, пионерами инноваций. Объединяя передовые практики и уникальную команду, мы создаем новые возможности для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наших клиентов, сотрудников и общества</a:t>
            </a:r>
          </a:p>
        </p:txBody>
      </p:sp>
      <p:sp>
        <p:nvSpPr>
          <p:cNvPr id="113" name="Freeform 112"/>
          <p:cNvSpPr/>
          <p:nvPr/>
        </p:nvSpPr>
        <p:spPr bwMode="gray">
          <a:xfrm>
            <a:off x="1270000" y="3124199"/>
            <a:ext cx="4004082" cy="140439"/>
          </a:xfrm>
          <a:custGeom>
            <a:avLst/>
            <a:gdLst>
              <a:gd name="connsiteX0" fmla="*/ 0 w 4140200"/>
              <a:gd name="connsiteY0" fmla="*/ 0 h 190500"/>
              <a:gd name="connsiteX1" fmla="*/ 3327400 w 4140200"/>
              <a:gd name="connsiteY1" fmla="*/ 0 h 190500"/>
              <a:gd name="connsiteX2" fmla="*/ 4140200 w 4140200"/>
              <a:gd name="connsiteY2" fmla="*/ 190500 h 190500"/>
              <a:gd name="connsiteX0" fmla="*/ 0 w 4114800"/>
              <a:gd name="connsiteY0" fmla="*/ 0 h 180975"/>
              <a:gd name="connsiteX1" fmla="*/ 3327400 w 4114800"/>
              <a:gd name="connsiteY1" fmla="*/ 0 h 180975"/>
              <a:gd name="connsiteX2" fmla="*/ 4114800 w 4114800"/>
              <a:gd name="connsiteY2" fmla="*/ 180975 h 180975"/>
              <a:gd name="connsiteX0" fmla="*/ 0 w 4151577"/>
              <a:gd name="connsiteY0" fmla="*/ 0 h 193611"/>
              <a:gd name="connsiteX1" fmla="*/ 3327400 w 4151577"/>
              <a:gd name="connsiteY1" fmla="*/ 0 h 193611"/>
              <a:gd name="connsiteX2" fmla="*/ 4151577 w 4151577"/>
              <a:gd name="connsiteY2" fmla="*/ 193611 h 193611"/>
              <a:gd name="connsiteX0" fmla="*/ 0 w 4125308"/>
              <a:gd name="connsiteY0" fmla="*/ 0 h 174658"/>
              <a:gd name="connsiteX1" fmla="*/ 3327400 w 4125308"/>
              <a:gd name="connsiteY1" fmla="*/ 0 h 174658"/>
              <a:gd name="connsiteX2" fmla="*/ 4125308 w 4125308"/>
              <a:gd name="connsiteY2" fmla="*/ 174658 h 174658"/>
              <a:gd name="connsiteX0" fmla="*/ 0 w 4141069"/>
              <a:gd name="connsiteY0" fmla="*/ 0 h 174658"/>
              <a:gd name="connsiteX1" fmla="*/ 3327400 w 4141069"/>
              <a:gd name="connsiteY1" fmla="*/ 0 h 174658"/>
              <a:gd name="connsiteX2" fmla="*/ 4141069 w 4141069"/>
              <a:gd name="connsiteY2" fmla="*/ 174658 h 17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41069" h="174658">
                <a:moveTo>
                  <a:pt x="0" y="0"/>
                </a:moveTo>
                <a:lnTo>
                  <a:pt x="3327400" y="0"/>
                </a:lnTo>
                <a:lnTo>
                  <a:pt x="4141069" y="174658"/>
                </a:lnTo>
              </a:path>
            </a:pathLst>
          </a:custGeom>
          <a:noFill/>
          <a:ln>
            <a:solidFill>
              <a:schemeClr val="bg1"/>
            </a:solidFill>
            <a:tailEnd type="oval" w="lg" len="lg"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0" name="Graphic 4">
            <a:extLst>
              <a:ext uri="{FF2B5EF4-FFF2-40B4-BE49-F238E27FC236}">
                <a16:creationId xmlns:a16="http://schemas.microsoft.com/office/drawing/2014/main" xmlns="" id="{E5102951-196E-AD41-9EF4-B8C917743F8F}"/>
              </a:ext>
            </a:extLst>
          </p:cNvPr>
          <p:cNvGrpSpPr/>
          <p:nvPr/>
        </p:nvGrpSpPr>
        <p:grpSpPr>
          <a:xfrm>
            <a:off x="5373293" y="3084628"/>
            <a:ext cx="540000" cy="540000"/>
            <a:chOff x="905454" y="2855717"/>
            <a:chExt cx="361674" cy="361333"/>
          </a:xfrm>
          <a:solidFill>
            <a:schemeClr val="accent1"/>
          </a:solidFill>
        </p:grpSpPr>
        <p:sp>
          <p:nvSpPr>
            <p:cNvPr id="91" name="Graphic 4">
              <a:extLst>
                <a:ext uri="{FF2B5EF4-FFF2-40B4-BE49-F238E27FC236}">
                  <a16:creationId xmlns:a16="http://schemas.microsoft.com/office/drawing/2014/main" xmlns="" id="{31BD1123-05C8-B44C-9766-083D790CE6C7}"/>
                </a:ext>
              </a:extLst>
            </p:cNvPr>
            <p:cNvSpPr/>
            <p:nvPr/>
          </p:nvSpPr>
          <p:spPr>
            <a:xfrm>
              <a:off x="1149549" y="2979567"/>
              <a:ext cx="35783" cy="35750"/>
            </a:xfrm>
            <a:custGeom>
              <a:avLst/>
              <a:gdLst>
                <a:gd name="connsiteX0" fmla="*/ 35784 w 35783"/>
                <a:gd name="connsiteY0" fmla="*/ 17875 h 35750"/>
                <a:gd name="connsiteX1" fmla="*/ 17892 w 35783"/>
                <a:gd name="connsiteY1" fmla="*/ 35750 h 35750"/>
                <a:gd name="connsiteX2" fmla="*/ 0 w 35783"/>
                <a:gd name="connsiteY2" fmla="*/ 17875 h 35750"/>
                <a:gd name="connsiteX3" fmla="*/ 17892 w 35783"/>
                <a:gd name="connsiteY3" fmla="*/ 0 h 35750"/>
                <a:gd name="connsiteX4" fmla="*/ 35784 w 35783"/>
                <a:gd name="connsiteY4" fmla="*/ 17875 h 3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83" h="35750">
                  <a:moveTo>
                    <a:pt x="35784" y="17875"/>
                  </a:moveTo>
                  <a:cubicBezTo>
                    <a:pt x="35784" y="27747"/>
                    <a:pt x="27773" y="35750"/>
                    <a:pt x="17892" y="35750"/>
                  </a:cubicBezTo>
                  <a:cubicBezTo>
                    <a:pt x="8010" y="35750"/>
                    <a:pt x="0" y="27747"/>
                    <a:pt x="0" y="17875"/>
                  </a:cubicBezTo>
                  <a:cubicBezTo>
                    <a:pt x="0" y="8003"/>
                    <a:pt x="8010" y="0"/>
                    <a:pt x="17892" y="0"/>
                  </a:cubicBezTo>
                  <a:cubicBezTo>
                    <a:pt x="27773" y="0"/>
                    <a:pt x="35784" y="8003"/>
                    <a:pt x="35784" y="1787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Graphic 4">
              <a:extLst>
                <a:ext uri="{FF2B5EF4-FFF2-40B4-BE49-F238E27FC236}">
                  <a16:creationId xmlns:a16="http://schemas.microsoft.com/office/drawing/2014/main" xmlns="" id="{91A5344B-AB36-2148-B06A-E3332C3D2B03}"/>
                </a:ext>
              </a:extLst>
            </p:cNvPr>
            <p:cNvSpPr/>
            <p:nvPr/>
          </p:nvSpPr>
          <p:spPr>
            <a:xfrm>
              <a:off x="991079" y="2979567"/>
              <a:ext cx="35783" cy="35750"/>
            </a:xfrm>
            <a:custGeom>
              <a:avLst/>
              <a:gdLst>
                <a:gd name="connsiteX0" fmla="*/ 35784 w 35783"/>
                <a:gd name="connsiteY0" fmla="*/ 17875 h 35750"/>
                <a:gd name="connsiteX1" fmla="*/ 17892 w 35783"/>
                <a:gd name="connsiteY1" fmla="*/ 35750 h 35750"/>
                <a:gd name="connsiteX2" fmla="*/ 0 w 35783"/>
                <a:gd name="connsiteY2" fmla="*/ 17875 h 35750"/>
                <a:gd name="connsiteX3" fmla="*/ 17892 w 35783"/>
                <a:gd name="connsiteY3" fmla="*/ 0 h 35750"/>
                <a:gd name="connsiteX4" fmla="*/ 35784 w 35783"/>
                <a:gd name="connsiteY4" fmla="*/ 17875 h 3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83" h="35750">
                  <a:moveTo>
                    <a:pt x="35784" y="17875"/>
                  </a:moveTo>
                  <a:cubicBezTo>
                    <a:pt x="35784" y="27747"/>
                    <a:pt x="27773" y="35750"/>
                    <a:pt x="17892" y="35750"/>
                  </a:cubicBezTo>
                  <a:cubicBezTo>
                    <a:pt x="8010" y="35750"/>
                    <a:pt x="0" y="27747"/>
                    <a:pt x="0" y="17875"/>
                  </a:cubicBezTo>
                  <a:cubicBezTo>
                    <a:pt x="0" y="8003"/>
                    <a:pt x="8010" y="0"/>
                    <a:pt x="17892" y="0"/>
                  </a:cubicBezTo>
                  <a:cubicBezTo>
                    <a:pt x="27773" y="0"/>
                    <a:pt x="35784" y="8003"/>
                    <a:pt x="35784" y="1787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Graphic 4">
              <a:extLst>
                <a:ext uri="{FF2B5EF4-FFF2-40B4-BE49-F238E27FC236}">
                  <a16:creationId xmlns:a16="http://schemas.microsoft.com/office/drawing/2014/main" xmlns="" id="{822CB578-46F6-0148-9AC9-6BEF0D3D0819}"/>
                </a:ext>
              </a:extLst>
            </p:cNvPr>
            <p:cNvSpPr/>
            <p:nvPr/>
          </p:nvSpPr>
          <p:spPr>
            <a:xfrm>
              <a:off x="905454" y="2855717"/>
              <a:ext cx="361674" cy="361333"/>
            </a:xfrm>
            <a:custGeom>
              <a:avLst/>
              <a:gdLst>
                <a:gd name="connsiteX0" fmla="*/ 180835 w 361674"/>
                <a:gd name="connsiteY0" fmla="*/ 0 h 361333"/>
                <a:gd name="connsiteX1" fmla="*/ 0 w 361674"/>
                <a:gd name="connsiteY1" fmla="*/ 180667 h 361333"/>
                <a:gd name="connsiteX2" fmla="*/ 180835 w 361674"/>
                <a:gd name="connsiteY2" fmla="*/ 361333 h 361333"/>
                <a:gd name="connsiteX3" fmla="*/ 361670 w 361674"/>
                <a:gd name="connsiteY3" fmla="*/ 180667 h 361333"/>
                <a:gd name="connsiteX4" fmla="*/ 180835 w 361674"/>
                <a:gd name="connsiteY4" fmla="*/ 0 h 361333"/>
                <a:gd name="connsiteX5" fmla="*/ 261987 w 361674"/>
                <a:gd name="connsiteY5" fmla="*/ 111081 h 361333"/>
                <a:gd name="connsiteX6" fmla="*/ 292659 w 361674"/>
                <a:gd name="connsiteY6" fmla="*/ 141724 h 361333"/>
                <a:gd name="connsiteX7" fmla="*/ 261987 w 361674"/>
                <a:gd name="connsiteY7" fmla="*/ 172368 h 361333"/>
                <a:gd name="connsiteX8" fmla="*/ 231316 w 361674"/>
                <a:gd name="connsiteY8" fmla="*/ 141724 h 361333"/>
                <a:gd name="connsiteX9" fmla="*/ 261987 w 361674"/>
                <a:gd name="connsiteY9" fmla="*/ 111081 h 361333"/>
                <a:gd name="connsiteX10" fmla="*/ 182752 w 361674"/>
                <a:gd name="connsiteY10" fmla="*/ 95760 h 361333"/>
                <a:gd name="connsiteX11" fmla="*/ 223648 w 361674"/>
                <a:gd name="connsiteY11" fmla="*/ 136617 h 361333"/>
                <a:gd name="connsiteX12" fmla="*/ 182752 w 361674"/>
                <a:gd name="connsiteY12" fmla="*/ 177475 h 361333"/>
                <a:gd name="connsiteX13" fmla="*/ 141857 w 361674"/>
                <a:gd name="connsiteY13" fmla="*/ 136617 h 361333"/>
                <a:gd name="connsiteX14" fmla="*/ 182752 w 361674"/>
                <a:gd name="connsiteY14" fmla="*/ 95760 h 361333"/>
                <a:gd name="connsiteX15" fmla="*/ 103517 w 361674"/>
                <a:gd name="connsiteY15" fmla="*/ 111081 h 361333"/>
                <a:gd name="connsiteX16" fmla="*/ 134189 w 361674"/>
                <a:gd name="connsiteY16" fmla="*/ 141724 h 361333"/>
                <a:gd name="connsiteX17" fmla="*/ 103517 w 361674"/>
                <a:gd name="connsiteY17" fmla="*/ 172368 h 361333"/>
                <a:gd name="connsiteX18" fmla="*/ 72845 w 361674"/>
                <a:gd name="connsiteY18" fmla="*/ 141724 h 361333"/>
                <a:gd name="connsiteX19" fmla="*/ 103517 w 361674"/>
                <a:gd name="connsiteY19" fmla="*/ 111081 h 361333"/>
                <a:gd name="connsiteX20" fmla="*/ 93293 w 361674"/>
                <a:gd name="connsiteY20" fmla="*/ 246422 h 361333"/>
                <a:gd name="connsiteX21" fmla="*/ 48564 w 361674"/>
                <a:gd name="connsiteY21" fmla="*/ 246422 h 361333"/>
                <a:gd name="connsiteX22" fmla="*/ 42174 w 361674"/>
                <a:gd name="connsiteY22" fmla="*/ 240038 h 361333"/>
                <a:gd name="connsiteX23" fmla="*/ 42174 w 361674"/>
                <a:gd name="connsiteY23" fmla="*/ 231100 h 361333"/>
                <a:gd name="connsiteX24" fmla="*/ 87542 w 361674"/>
                <a:gd name="connsiteY24" fmla="*/ 182582 h 361333"/>
                <a:gd name="connsiteX25" fmla="*/ 111824 w 361674"/>
                <a:gd name="connsiteY25" fmla="*/ 182582 h 361333"/>
                <a:gd name="connsiteX26" fmla="*/ 118214 w 361674"/>
                <a:gd name="connsiteY26" fmla="*/ 188966 h 361333"/>
                <a:gd name="connsiteX27" fmla="*/ 111824 w 361674"/>
                <a:gd name="connsiteY27" fmla="*/ 195350 h 361333"/>
                <a:gd name="connsiteX28" fmla="*/ 87542 w 361674"/>
                <a:gd name="connsiteY28" fmla="*/ 195350 h 361333"/>
                <a:gd name="connsiteX29" fmla="*/ 54954 w 361674"/>
                <a:gd name="connsiteY29" fmla="*/ 231100 h 361333"/>
                <a:gd name="connsiteX30" fmla="*/ 54954 w 361674"/>
                <a:gd name="connsiteY30" fmla="*/ 233654 h 361333"/>
                <a:gd name="connsiteX31" fmla="*/ 93293 w 361674"/>
                <a:gd name="connsiteY31" fmla="*/ 233654 h 361333"/>
                <a:gd name="connsiteX32" fmla="*/ 99683 w 361674"/>
                <a:gd name="connsiteY32" fmla="*/ 240038 h 361333"/>
                <a:gd name="connsiteX33" fmla="*/ 93293 w 361674"/>
                <a:gd name="connsiteY33" fmla="*/ 246422 h 361333"/>
                <a:gd name="connsiteX34" fmla="*/ 254320 w 361674"/>
                <a:gd name="connsiteY34" fmla="*/ 251529 h 361333"/>
                <a:gd name="connsiteX35" fmla="*/ 247930 w 361674"/>
                <a:gd name="connsiteY35" fmla="*/ 257913 h 361333"/>
                <a:gd name="connsiteX36" fmla="*/ 118214 w 361674"/>
                <a:gd name="connsiteY36" fmla="*/ 257913 h 361333"/>
                <a:gd name="connsiteX37" fmla="*/ 111824 w 361674"/>
                <a:gd name="connsiteY37" fmla="*/ 251529 h 361333"/>
                <a:gd name="connsiteX38" fmla="*/ 111824 w 361674"/>
                <a:gd name="connsiteY38" fmla="*/ 240676 h 361333"/>
                <a:gd name="connsiteX39" fmla="*/ 164860 w 361674"/>
                <a:gd name="connsiteY39" fmla="*/ 183859 h 361333"/>
                <a:gd name="connsiteX40" fmla="*/ 200644 w 361674"/>
                <a:gd name="connsiteY40" fmla="*/ 183859 h 361333"/>
                <a:gd name="connsiteX41" fmla="*/ 253680 w 361674"/>
                <a:gd name="connsiteY41" fmla="*/ 240676 h 361333"/>
                <a:gd name="connsiteX42" fmla="*/ 253680 w 361674"/>
                <a:gd name="connsiteY42" fmla="*/ 251529 h 361333"/>
                <a:gd name="connsiteX43" fmla="*/ 313746 w 361674"/>
                <a:gd name="connsiteY43" fmla="*/ 246422 h 361333"/>
                <a:gd name="connsiteX44" fmla="*/ 269016 w 361674"/>
                <a:gd name="connsiteY44" fmla="*/ 246422 h 361333"/>
                <a:gd name="connsiteX45" fmla="*/ 262626 w 361674"/>
                <a:gd name="connsiteY45" fmla="*/ 240038 h 361333"/>
                <a:gd name="connsiteX46" fmla="*/ 269016 w 361674"/>
                <a:gd name="connsiteY46" fmla="*/ 233654 h 361333"/>
                <a:gd name="connsiteX47" fmla="*/ 307356 w 361674"/>
                <a:gd name="connsiteY47" fmla="*/ 233654 h 361333"/>
                <a:gd name="connsiteX48" fmla="*/ 307356 w 361674"/>
                <a:gd name="connsiteY48" fmla="*/ 231100 h 361333"/>
                <a:gd name="connsiteX49" fmla="*/ 274767 w 361674"/>
                <a:gd name="connsiteY49" fmla="*/ 195350 h 361333"/>
                <a:gd name="connsiteX50" fmla="*/ 250486 w 361674"/>
                <a:gd name="connsiteY50" fmla="*/ 195350 h 361333"/>
                <a:gd name="connsiteX51" fmla="*/ 244096 w 361674"/>
                <a:gd name="connsiteY51" fmla="*/ 188966 h 361333"/>
                <a:gd name="connsiteX52" fmla="*/ 250486 w 361674"/>
                <a:gd name="connsiteY52" fmla="*/ 182582 h 361333"/>
                <a:gd name="connsiteX53" fmla="*/ 274767 w 361674"/>
                <a:gd name="connsiteY53" fmla="*/ 182582 h 361333"/>
                <a:gd name="connsiteX54" fmla="*/ 320136 w 361674"/>
                <a:gd name="connsiteY54" fmla="*/ 231100 h 361333"/>
                <a:gd name="connsiteX55" fmla="*/ 320136 w 361674"/>
                <a:gd name="connsiteY55" fmla="*/ 240038 h 361333"/>
                <a:gd name="connsiteX56" fmla="*/ 313746 w 361674"/>
                <a:gd name="connsiteY56" fmla="*/ 24642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61674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2309" y="80438"/>
                    <a:pt x="281157" y="0"/>
                    <a:pt x="180835" y="0"/>
                  </a:cubicBezTo>
                  <a:close/>
                  <a:moveTo>
                    <a:pt x="261987" y="111081"/>
                  </a:moveTo>
                  <a:cubicBezTo>
                    <a:pt x="279240" y="111081"/>
                    <a:pt x="292659" y="125126"/>
                    <a:pt x="292659" y="141724"/>
                  </a:cubicBezTo>
                  <a:cubicBezTo>
                    <a:pt x="292659" y="158323"/>
                    <a:pt x="278601" y="172368"/>
                    <a:pt x="261987" y="172368"/>
                  </a:cubicBezTo>
                  <a:cubicBezTo>
                    <a:pt x="245374" y="172368"/>
                    <a:pt x="231316" y="158323"/>
                    <a:pt x="231316" y="141724"/>
                  </a:cubicBezTo>
                  <a:cubicBezTo>
                    <a:pt x="231316" y="125126"/>
                    <a:pt x="244735" y="111081"/>
                    <a:pt x="261987" y="111081"/>
                  </a:cubicBezTo>
                  <a:close/>
                  <a:moveTo>
                    <a:pt x="182752" y="95760"/>
                  </a:moveTo>
                  <a:cubicBezTo>
                    <a:pt x="205117" y="95760"/>
                    <a:pt x="223648" y="114273"/>
                    <a:pt x="223648" y="136617"/>
                  </a:cubicBezTo>
                  <a:cubicBezTo>
                    <a:pt x="223648" y="158961"/>
                    <a:pt x="205117" y="177475"/>
                    <a:pt x="182752" y="177475"/>
                  </a:cubicBezTo>
                  <a:cubicBezTo>
                    <a:pt x="160387" y="177475"/>
                    <a:pt x="141857" y="158961"/>
                    <a:pt x="141857" y="136617"/>
                  </a:cubicBezTo>
                  <a:cubicBezTo>
                    <a:pt x="141857" y="114273"/>
                    <a:pt x="160387" y="95760"/>
                    <a:pt x="182752" y="95760"/>
                  </a:cubicBezTo>
                  <a:close/>
                  <a:moveTo>
                    <a:pt x="103517" y="111081"/>
                  </a:moveTo>
                  <a:cubicBezTo>
                    <a:pt x="120770" y="111081"/>
                    <a:pt x="134189" y="125126"/>
                    <a:pt x="134189" y="141724"/>
                  </a:cubicBezTo>
                  <a:cubicBezTo>
                    <a:pt x="134189" y="158323"/>
                    <a:pt x="120131" y="172368"/>
                    <a:pt x="103517" y="172368"/>
                  </a:cubicBezTo>
                  <a:cubicBezTo>
                    <a:pt x="86903" y="172368"/>
                    <a:pt x="72845" y="158323"/>
                    <a:pt x="72845" y="141724"/>
                  </a:cubicBezTo>
                  <a:cubicBezTo>
                    <a:pt x="72845" y="125126"/>
                    <a:pt x="86264" y="111081"/>
                    <a:pt x="103517" y="111081"/>
                  </a:cubicBezTo>
                  <a:close/>
                  <a:moveTo>
                    <a:pt x="93293" y="246422"/>
                  </a:moveTo>
                  <a:lnTo>
                    <a:pt x="48564" y="246422"/>
                  </a:lnTo>
                  <a:cubicBezTo>
                    <a:pt x="44730" y="246422"/>
                    <a:pt x="42174" y="243868"/>
                    <a:pt x="42174" y="240038"/>
                  </a:cubicBezTo>
                  <a:lnTo>
                    <a:pt x="42174" y="231100"/>
                  </a:lnTo>
                  <a:cubicBezTo>
                    <a:pt x="42174" y="204287"/>
                    <a:pt x="62621" y="182582"/>
                    <a:pt x="87542" y="182582"/>
                  </a:cubicBezTo>
                  <a:lnTo>
                    <a:pt x="111824" y="182582"/>
                  </a:lnTo>
                  <a:cubicBezTo>
                    <a:pt x="115658" y="182582"/>
                    <a:pt x="118214" y="185135"/>
                    <a:pt x="118214" y="188966"/>
                  </a:cubicBezTo>
                  <a:cubicBezTo>
                    <a:pt x="118214" y="192796"/>
                    <a:pt x="115658" y="195350"/>
                    <a:pt x="111824" y="195350"/>
                  </a:cubicBezTo>
                  <a:lnTo>
                    <a:pt x="87542" y="195350"/>
                  </a:lnTo>
                  <a:cubicBezTo>
                    <a:pt x="69650" y="195350"/>
                    <a:pt x="54954" y="211310"/>
                    <a:pt x="54954" y="231100"/>
                  </a:cubicBezTo>
                  <a:lnTo>
                    <a:pt x="54954" y="233654"/>
                  </a:lnTo>
                  <a:lnTo>
                    <a:pt x="93293" y="233654"/>
                  </a:lnTo>
                  <a:cubicBezTo>
                    <a:pt x="97127" y="233654"/>
                    <a:pt x="99683" y="236207"/>
                    <a:pt x="99683" y="240038"/>
                  </a:cubicBezTo>
                  <a:cubicBezTo>
                    <a:pt x="99683" y="243868"/>
                    <a:pt x="97127" y="246422"/>
                    <a:pt x="93293" y="246422"/>
                  </a:cubicBezTo>
                  <a:close/>
                  <a:moveTo>
                    <a:pt x="254320" y="251529"/>
                  </a:moveTo>
                  <a:cubicBezTo>
                    <a:pt x="254320" y="255359"/>
                    <a:pt x="251764" y="257913"/>
                    <a:pt x="247930" y="257913"/>
                  </a:cubicBezTo>
                  <a:lnTo>
                    <a:pt x="118214" y="257913"/>
                  </a:lnTo>
                  <a:cubicBezTo>
                    <a:pt x="114380" y="257913"/>
                    <a:pt x="111824" y="255359"/>
                    <a:pt x="111824" y="251529"/>
                  </a:cubicBezTo>
                  <a:lnTo>
                    <a:pt x="111824" y="240676"/>
                  </a:lnTo>
                  <a:cubicBezTo>
                    <a:pt x="111824" y="209395"/>
                    <a:pt x="135467" y="183859"/>
                    <a:pt x="164860" y="183859"/>
                  </a:cubicBezTo>
                  <a:lnTo>
                    <a:pt x="200644" y="183859"/>
                  </a:lnTo>
                  <a:cubicBezTo>
                    <a:pt x="230038" y="183859"/>
                    <a:pt x="253680" y="209395"/>
                    <a:pt x="253680" y="240676"/>
                  </a:cubicBezTo>
                  <a:lnTo>
                    <a:pt x="253680" y="251529"/>
                  </a:lnTo>
                  <a:close/>
                  <a:moveTo>
                    <a:pt x="313746" y="246422"/>
                  </a:moveTo>
                  <a:lnTo>
                    <a:pt x="269016" y="246422"/>
                  </a:lnTo>
                  <a:cubicBezTo>
                    <a:pt x="265182" y="246422"/>
                    <a:pt x="262626" y="243868"/>
                    <a:pt x="262626" y="240038"/>
                  </a:cubicBezTo>
                  <a:cubicBezTo>
                    <a:pt x="262626" y="236207"/>
                    <a:pt x="265182" y="233654"/>
                    <a:pt x="269016" y="233654"/>
                  </a:cubicBezTo>
                  <a:lnTo>
                    <a:pt x="307356" y="233654"/>
                  </a:lnTo>
                  <a:lnTo>
                    <a:pt x="307356" y="231100"/>
                  </a:lnTo>
                  <a:cubicBezTo>
                    <a:pt x="307356" y="211310"/>
                    <a:pt x="292659" y="195350"/>
                    <a:pt x="274767" y="195350"/>
                  </a:cubicBezTo>
                  <a:lnTo>
                    <a:pt x="250486" y="195350"/>
                  </a:lnTo>
                  <a:cubicBezTo>
                    <a:pt x="246652" y="195350"/>
                    <a:pt x="244096" y="192796"/>
                    <a:pt x="244096" y="188966"/>
                  </a:cubicBezTo>
                  <a:cubicBezTo>
                    <a:pt x="244096" y="185135"/>
                    <a:pt x="246652" y="182582"/>
                    <a:pt x="250486" y="182582"/>
                  </a:cubicBezTo>
                  <a:lnTo>
                    <a:pt x="274767" y="182582"/>
                  </a:lnTo>
                  <a:cubicBezTo>
                    <a:pt x="299688" y="182582"/>
                    <a:pt x="320136" y="204287"/>
                    <a:pt x="320136" y="231100"/>
                  </a:cubicBezTo>
                  <a:lnTo>
                    <a:pt x="320136" y="240038"/>
                  </a:lnTo>
                  <a:cubicBezTo>
                    <a:pt x="320136" y="243868"/>
                    <a:pt x="317580" y="246422"/>
                    <a:pt x="313746" y="24642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6" name="Freeform 115"/>
          <p:cNvSpPr/>
          <p:nvPr/>
        </p:nvSpPr>
        <p:spPr bwMode="gray">
          <a:xfrm>
            <a:off x="6973570" y="3521710"/>
            <a:ext cx="4761230" cy="356870"/>
          </a:xfrm>
          <a:custGeom>
            <a:avLst/>
            <a:gdLst>
              <a:gd name="connsiteX0" fmla="*/ 4836160 w 4836160"/>
              <a:gd name="connsiteY0" fmla="*/ 0 h 254000"/>
              <a:gd name="connsiteX1" fmla="*/ 995680 w 4836160"/>
              <a:gd name="connsiteY1" fmla="*/ 0 h 254000"/>
              <a:gd name="connsiteX2" fmla="*/ 0 w 4836160"/>
              <a:gd name="connsiteY2" fmla="*/ 254000 h 254000"/>
              <a:gd name="connsiteX0" fmla="*/ 4744720 w 4744720"/>
              <a:gd name="connsiteY0" fmla="*/ 0 h 345440"/>
              <a:gd name="connsiteX1" fmla="*/ 904240 w 4744720"/>
              <a:gd name="connsiteY1" fmla="*/ 0 h 345440"/>
              <a:gd name="connsiteX2" fmla="*/ 0 w 4744720"/>
              <a:gd name="connsiteY2" fmla="*/ 345440 h 345440"/>
              <a:gd name="connsiteX0" fmla="*/ 4782820 w 4782820"/>
              <a:gd name="connsiteY0" fmla="*/ 276860 h 276860"/>
              <a:gd name="connsiteX1" fmla="*/ 942340 w 4782820"/>
              <a:gd name="connsiteY1" fmla="*/ 276860 h 276860"/>
              <a:gd name="connsiteX2" fmla="*/ 0 w 4782820"/>
              <a:gd name="connsiteY2" fmla="*/ 0 h 276860"/>
              <a:gd name="connsiteX0" fmla="*/ 4776470 w 4776470"/>
              <a:gd name="connsiteY0" fmla="*/ 270510 h 270510"/>
              <a:gd name="connsiteX1" fmla="*/ 935990 w 4776470"/>
              <a:gd name="connsiteY1" fmla="*/ 270510 h 270510"/>
              <a:gd name="connsiteX2" fmla="*/ 0 w 4776470"/>
              <a:gd name="connsiteY2" fmla="*/ 0 h 270510"/>
              <a:gd name="connsiteX0" fmla="*/ 4744720 w 4744720"/>
              <a:gd name="connsiteY0" fmla="*/ 270510 h 270510"/>
              <a:gd name="connsiteX1" fmla="*/ 904240 w 4744720"/>
              <a:gd name="connsiteY1" fmla="*/ 270510 h 270510"/>
              <a:gd name="connsiteX2" fmla="*/ 0 w 4744720"/>
              <a:gd name="connsiteY2" fmla="*/ 0 h 270510"/>
              <a:gd name="connsiteX0" fmla="*/ 4725670 w 4725670"/>
              <a:gd name="connsiteY0" fmla="*/ 270510 h 270510"/>
              <a:gd name="connsiteX1" fmla="*/ 885190 w 4725670"/>
              <a:gd name="connsiteY1" fmla="*/ 270510 h 270510"/>
              <a:gd name="connsiteX2" fmla="*/ 0 w 4725670"/>
              <a:gd name="connsiteY2" fmla="*/ 0 h 270510"/>
              <a:gd name="connsiteX0" fmla="*/ 4791710 w 4791710"/>
              <a:gd name="connsiteY0" fmla="*/ 361950 h 361950"/>
              <a:gd name="connsiteX1" fmla="*/ 951230 w 4791710"/>
              <a:gd name="connsiteY1" fmla="*/ 361950 h 361950"/>
              <a:gd name="connsiteX2" fmla="*/ 0 w 4791710"/>
              <a:gd name="connsiteY2" fmla="*/ 0 h 361950"/>
              <a:gd name="connsiteX0" fmla="*/ 4761230 w 4761230"/>
              <a:gd name="connsiteY0" fmla="*/ 356870 h 356870"/>
              <a:gd name="connsiteX1" fmla="*/ 920750 w 4761230"/>
              <a:gd name="connsiteY1" fmla="*/ 356870 h 356870"/>
              <a:gd name="connsiteX2" fmla="*/ 0 w 4761230"/>
              <a:gd name="connsiteY2" fmla="*/ 0 h 35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1230" h="356870">
                <a:moveTo>
                  <a:pt x="4761230" y="356870"/>
                </a:moveTo>
                <a:lnTo>
                  <a:pt x="920750" y="35687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/>
            </a:solidFill>
            <a:tailEnd type="oval" w="lg" len="lg"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Freeform 116"/>
          <p:cNvSpPr/>
          <p:nvPr/>
        </p:nvSpPr>
        <p:spPr bwMode="gray">
          <a:xfrm>
            <a:off x="6555072" y="4363720"/>
            <a:ext cx="5189888" cy="2077720"/>
          </a:xfrm>
          <a:custGeom>
            <a:avLst/>
            <a:gdLst>
              <a:gd name="connsiteX0" fmla="*/ 0 w 5262880"/>
              <a:gd name="connsiteY0" fmla="*/ 0 h 2082800"/>
              <a:gd name="connsiteX1" fmla="*/ 2082800 w 5262880"/>
              <a:gd name="connsiteY1" fmla="*/ 2082800 h 2082800"/>
              <a:gd name="connsiteX2" fmla="*/ 5262880 w 5262880"/>
              <a:gd name="connsiteY2" fmla="*/ 2082800 h 2082800"/>
              <a:gd name="connsiteX0" fmla="*/ 0 w 5234004"/>
              <a:gd name="connsiteY0" fmla="*/ 0 h 2102050"/>
              <a:gd name="connsiteX1" fmla="*/ 2053924 w 5234004"/>
              <a:gd name="connsiteY1" fmla="*/ 2102050 h 2102050"/>
              <a:gd name="connsiteX2" fmla="*/ 5234004 w 5234004"/>
              <a:gd name="connsiteY2" fmla="*/ 2102050 h 2102050"/>
              <a:gd name="connsiteX0" fmla="*/ 0 w 5205128"/>
              <a:gd name="connsiteY0" fmla="*/ 0 h 2082800"/>
              <a:gd name="connsiteX1" fmla="*/ 2025048 w 5205128"/>
              <a:gd name="connsiteY1" fmla="*/ 2082800 h 2082800"/>
              <a:gd name="connsiteX2" fmla="*/ 5205128 w 5205128"/>
              <a:gd name="connsiteY2" fmla="*/ 2082800 h 2082800"/>
              <a:gd name="connsiteX0" fmla="*/ 0 w 5189888"/>
              <a:gd name="connsiteY0" fmla="*/ 0 h 2077720"/>
              <a:gd name="connsiteX1" fmla="*/ 2009808 w 5189888"/>
              <a:gd name="connsiteY1" fmla="*/ 2077720 h 2077720"/>
              <a:gd name="connsiteX2" fmla="*/ 5189888 w 5189888"/>
              <a:gd name="connsiteY2" fmla="*/ 2077720 h 207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9888" h="2077720">
                <a:moveTo>
                  <a:pt x="0" y="0"/>
                </a:moveTo>
                <a:lnTo>
                  <a:pt x="2009808" y="2077720"/>
                </a:lnTo>
                <a:lnTo>
                  <a:pt x="5189888" y="2077720"/>
                </a:lnTo>
              </a:path>
            </a:pathLst>
          </a:custGeom>
          <a:noFill/>
          <a:ln>
            <a:solidFill>
              <a:schemeClr val="bg1"/>
            </a:solidFill>
            <a:headEnd type="oval" w="lg" len="lg"/>
            <a:tailEnd type="none" w="lg" len="lg"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Freeform 118"/>
          <p:cNvSpPr/>
          <p:nvPr/>
        </p:nvSpPr>
        <p:spPr bwMode="gray">
          <a:xfrm>
            <a:off x="5562600" y="1673725"/>
            <a:ext cx="6172200" cy="929372"/>
          </a:xfrm>
          <a:custGeom>
            <a:avLst/>
            <a:gdLst>
              <a:gd name="connsiteX0" fmla="*/ 6172200 w 6172200"/>
              <a:gd name="connsiteY0" fmla="*/ 0 h 1016000"/>
              <a:gd name="connsiteX1" fmla="*/ 0 w 6172200"/>
              <a:gd name="connsiteY1" fmla="*/ 0 h 1016000"/>
              <a:gd name="connsiteX2" fmla="*/ 355600 w 6172200"/>
              <a:gd name="connsiteY2" fmla="*/ 1016000 h 1016000"/>
              <a:gd name="connsiteX0" fmla="*/ 6172200 w 6172200"/>
              <a:gd name="connsiteY0" fmla="*/ 0 h 919747"/>
              <a:gd name="connsiteX1" fmla="*/ 0 w 6172200"/>
              <a:gd name="connsiteY1" fmla="*/ 0 h 919747"/>
              <a:gd name="connsiteX2" fmla="*/ 288224 w 6172200"/>
              <a:gd name="connsiteY2" fmla="*/ 919747 h 919747"/>
              <a:gd name="connsiteX0" fmla="*/ 6172200 w 6172200"/>
              <a:gd name="connsiteY0" fmla="*/ 0 h 929372"/>
              <a:gd name="connsiteX1" fmla="*/ 0 w 6172200"/>
              <a:gd name="connsiteY1" fmla="*/ 0 h 929372"/>
              <a:gd name="connsiteX2" fmla="*/ 355601 w 6172200"/>
              <a:gd name="connsiteY2" fmla="*/ 929372 h 929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72200" h="929372">
                <a:moveTo>
                  <a:pt x="6172200" y="0"/>
                </a:moveTo>
                <a:lnTo>
                  <a:pt x="0" y="0"/>
                </a:lnTo>
                <a:lnTo>
                  <a:pt x="355601" y="929372"/>
                </a:lnTo>
              </a:path>
            </a:pathLst>
          </a:custGeom>
          <a:noFill/>
          <a:ln>
            <a:solidFill>
              <a:schemeClr val="bg1"/>
            </a:solidFill>
            <a:headEnd type="none" w="lg" len="lg"/>
            <a:tailEnd type="oval" w="lg" len="lg"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Freeform 126"/>
          <p:cNvSpPr/>
          <p:nvPr/>
        </p:nvSpPr>
        <p:spPr bwMode="gray">
          <a:xfrm flipV="1">
            <a:off x="1270000" y="4364793"/>
            <a:ext cx="4573844" cy="2037151"/>
          </a:xfrm>
          <a:custGeom>
            <a:avLst/>
            <a:gdLst>
              <a:gd name="connsiteX0" fmla="*/ 0 w 4140200"/>
              <a:gd name="connsiteY0" fmla="*/ 0 h 190500"/>
              <a:gd name="connsiteX1" fmla="*/ 3327400 w 4140200"/>
              <a:gd name="connsiteY1" fmla="*/ 0 h 190500"/>
              <a:gd name="connsiteX2" fmla="*/ 4140200 w 4140200"/>
              <a:gd name="connsiteY2" fmla="*/ 190500 h 190500"/>
              <a:gd name="connsiteX0" fmla="*/ 0 w 4114800"/>
              <a:gd name="connsiteY0" fmla="*/ 0 h 180975"/>
              <a:gd name="connsiteX1" fmla="*/ 3327400 w 4114800"/>
              <a:gd name="connsiteY1" fmla="*/ 0 h 180975"/>
              <a:gd name="connsiteX2" fmla="*/ 4114800 w 4114800"/>
              <a:gd name="connsiteY2" fmla="*/ 180975 h 180975"/>
              <a:gd name="connsiteX0" fmla="*/ 0 w 4151577"/>
              <a:gd name="connsiteY0" fmla="*/ 0 h 193611"/>
              <a:gd name="connsiteX1" fmla="*/ 3327400 w 4151577"/>
              <a:gd name="connsiteY1" fmla="*/ 0 h 193611"/>
              <a:gd name="connsiteX2" fmla="*/ 4151577 w 4151577"/>
              <a:gd name="connsiteY2" fmla="*/ 193611 h 193611"/>
              <a:gd name="connsiteX0" fmla="*/ 0 w 4125308"/>
              <a:gd name="connsiteY0" fmla="*/ 0 h 174658"/>
              <a:gd name="connsiteX1" fmla="*/ 3327400 w 4125308"/>
              <a:gd name="connsiteY1" fmla="*/ 0 h 174658"/>
              <a:gd name="connsiteX2" fmla="*/ 4125308 w 4125308"/>
              <a:gd name="connsiteY2" fmla="*/ 174658 h 174658"/>
              <a:gd name="connsiteX0" fmla="*/ 0 w 4141069"/>
              <a:gd name="connsiteY0" fmla="*/ 0 h 174658"/>
              <a:gd name="connsiteX1" fmla="*/ 3327400 w 4141069"/>
              <a:gd name="connsiteY1" fmla="*/ 0 h 174658"/>
              <a:gd name="connsiteX2" fmla="*/ 4141069 w 4141069"/>
              <a:gd name="connsiteY2" fmla="*/ 174658 h 174658"/>
              <a:gd name="connsiteX0" fmla="*/ 0 w 4272414"/>
              <a:gd name="connsiteY0" fmla="*/ 267587 h 267587"/>
              <a:gd name="connsiteX1" fmla="*/ 3327400 w 4272414"/>
              <a:gd name="connsiteY1" fmla="*/ 267587 h 267587"/>
              <a:gd name="connsiteX2" fmla="*/ 4272414 w 4272414"/>
              <a:gd name="connsiteY2" fmla="*/ 0 h 267587"/>
              <a:gd name="connsiteX0" fmla="*/ 0 w 4312901"/>
              <a:gd name="connsiteY0" fmla="*/ 267587 h 267587"/>
              <a:gd name="connsiteX1" fmla="*/ 4312901 w 4312901"/>
              <a:gd name="connsiteY1" fmla="*/ 255617 h 267587"/>
              <a:gd name="connsiteX2" fmla="*/ 4272414 w 4312901"/>
              <a:gd name="connsiteY2" fmla="*/ 0 h 267587"/>
              <a:gd name="connsiteX0" fmla="*/ 0 w 4760187"/>
              <a:gd name="connsiteY0" fmla="*/ 11970 h 2629286"/>
              <a:gd name="connsiteX1" fmla="*/ 4312901 w 4760187"/>
              <a:gd name="connsiteY1" fmla="*/ 0 h 2629286"/>
              <a:gd name="connsiteX2" fmla="*/ 4760187 w 4760187"/>
              <a:gd name="connsiteY2" fmla="*/ 2629286 h 2629286"/>
              <a:gd name="connsiteX0" fmla="*/ 0 w 4730323"/>
              <a:gd name="connsiteY0" fmla="*/ 11970 h 2545492"/>
              <a:gd name="connsiteX1" fmla="*/ 4312901 w 4730323"/>
              <a:gd name="connsiteY1" fmla="*/ 0 h 2545492"/>
              <a:gd name="connsiteX2" fmla="*/ 4730323 w 4730323"/>
              <a:gd name="connsiteY2" fmla="*/ 2545492 h 2545492"/>
              <a:gd name="connsiteX0" fmla="*/ 0 w 4730323"/>
              <a:gd name="connsiteY0" fmla="*/ 0 h 2533522"/>
              <a:gd name="connsiteX1" fmla="*/ 4312901 w 4730323"/>
              <a:gd name="connsiteY1" fmla="*/ 11972 h 2533522"/>
              <a:gd name="connsiteX2" fmla="*/ 4730323 w 4730323"/>
              <a:gd name="connsiteY2" fmla="*/ 2533522 h 2533522"/>
              <a:gd name="connsiteX0" fmla="*/ 0 w 4730323"/>
              <a:gd name="connsiteY0" fmla="*/ 0 h 2533522"/>
              <a:gd name="connsiteX1" fmla="*/ 4322855 w 4730323"/>
              <a:gd name="connsiteY1" fmla="*/ 1 h 2533522"/>
              <a:gd name="connsiteX2" fmla="*/ 4730323 w 4730323"/>
              <a:gd name="connsiteY2" fmla="*/ 2533522 h 2533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0323" h="2533522">
                <a:moveTo>
                  <a:pt x="0" y="0"/>
                </a:moveTo>
                <a:lnTo>
                  <a:pt x="4322855" y="1"/>
                </a:lnTo>
                <a:lnTo>
                  <a:pt x="4730323" y="2533522"/>
                </a:lnTo>
              </a:path>
            </a:pathLst>
          </a:custGeom>
          <a:noFill/>
          <a:ln>
            <a:solidFill>
              <a:schemeClr val="bg1"/>
            </a:solidFill>
            <a:tailEnd type="oval" w="lg" len="lg"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0100428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 rot="18900000">
            <a:off x="5574503" y="2046015"/>
            <a:ext cx="2273180" cy="3896446"/>
            <a:chOff x="5106024" y="2591673"/>
            <a:chExt cx="1965901" cy="3369739"/>
          </a:xfrm>
        </p:grpSpPr>
        <p:grpSp>
          <p:nvGrpSpPr>
            <p:cNvPr id="47" name="Group 46"/>
            <p:cNvGrpSpPr/>
            <p:nvPr/>
          </p:nvGrpSpPr>
          <p:grpSpPr>
            <a:xfrm>
              <a:off x="5914468" y="4462441"/>
              <a:ext cx="362389" cy="1498971"/>
              <a:chOff x="5914468" y="4462441"/>
              <a:chExt cx="362389" cy="1498971"/>
            </a:xfrm>
          </p:grpSpPr>
          <p:sp>
            <p:nvSpPr>
              <p:cNvPr id="51" name="Rectangle 50"/>
              <p:cNvSpPr/>
              <p:nvPr/>
            </p:nvSpPr>
            <p:spPr bwMode="gray">
              <a:xfrm>
                <a:off x="5992058" y="4570026"/>
                <a:ext cx="202266" cy="134842"/>
              </a:xfrm>
              <a:prstGeom prst="rect">
                <a:avLst/>
              </a:prstGeom>
              <a:solidFill>
                <a:srgbClr val="75787B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algn="ctr">
                  <a:buFont typeface="Wingdings 2" pitchFamily="18" charset="2"/>
                  <a:buNone/>
                </a:pPr>
                <a:endParaRPr lang="en-US" sz="1452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 bwMode="gray">
              <a:xfrm>
                <a:off x="5914468" y="4662135"/>
                <a:ext cx="362389" cy="129927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65000"/>
                </a:schemeClr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algn="ctr">
                  <a:buFont typeface="Wingdings 2" pitchFamily="18" charset="2"/>
                  <a:buNone/>
                </a:pPr>
                <a:endParaRPr lang="en-US" sz="1452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gray">
              <a:xfrm>
                <a:off x="5953706" y="4462441"/>
                <a:ext cx="278970" cy="134842"/>
              </a:xfrm>
              <a:prstGeom prst="rect">
                <a:avLst/>
              </a:prstGeom>
              <a:solidFill>
                <a:srgbClr val="63666A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0648" tIns="80648" rIns="80648" bIns="80648" rtlCol="0" anchor="ctr"/>
              <a:lstStyle/>
              <a:p>
                <a:pPr algn="ctr">
                  <a:buFont typeface="Wingdings 2" pitchFamily="18" charset="2"/>
                  <a:buNone/>
                </a:pPr>
                <a:endParaRPr lang="en-US" sz="1452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8" name="Freeform 97"/>
            <p:cNvSpPr>
              <a:spLocks/>
            </p:cNvSpPr>
            <p:nvPr/>
          </p:nvSpPr>
          <p:spPr bwMode="auto">
            <a:xfrm>
              <a:off x="5106024" y="2591673"/>
              <a:ext cx="1965901" cy="1964420"/>
            </a:xfrm>
            <a:custGeom>
              <a:avLst/>
              <a:gdLst>
                <a:gd name="T0" fmla="*/ 1076 w 1122"/>
                <a:gd name="T1" fmla="*/ 561 h 1121"/>
                <a:gd name="T2" fmla="*/ 1030 w 1122"/>
                <a:gd name="T3" fmla="*/ 561 h 1121"/>
                <a:gd name="T4" fmla="*/ 993 w 1122"/>
                <a:gd name="T5" fmla="*/ 743 h 1121"/>
                <a:gd name="T6" fmla="*/ 823 w 1122"/>
                <a:gd name="T7" fmla="*/ 949 h 1121"/>
                <a:gd name="T8" fmla="*/ 561 w 1122"/>
                <a:gd name="T9" fmla="*/ 1029 h 1121"/>
                <a:gd name="T10" fmla="*/ 379 w 1122"/>
                <a:gd name="T11" fmla="*/ 993 h 1121"/>
                <a:gd name="T12" fmla="*/ 172 w 1122"/>
                <a:gd name="T13" fmla="*/ 823 h 1121"/>
                <a:gd name="T14" fmla="*/ 92 w 1122"/>
                <a:gd name="T15" fmla="*/ 561 h 1121"/>
                <a:gd name="T16" fmla="*/ 129 w 1122"/>
                <a:gd name="T17" fmla="*/ 378 h 1121"/>
                <a:gd name="T18" fmla="*/ 299 w 1122"/>
                <a:gd name="T19" fmla="*/ 172 h 1121"/>
                <a:gd name="T20" fmla="*/ 561 w 1122"/>
                <a:gd name="T21" fmla="*/ 92 h 1121"/>
                <a:gd name="T22" fmla="*/ 744 w 1122"/>
                <a:gd name="T23" fmla="*/ 128 h 1121"/>
                <a:gd name="T24" fmla="*/ 950 w 1122"/>
                <a:gd name="T25" fmla="*/ 298 h 1121"/>
                <a:gd name="T26" fmla="*/ 1030 w 1122"/>
                <a:gd name="T27" fmla="*/ 561 h 1121"/>
                <a:gd name="T28" fmla="*/ 1076 w 1122"/>
                <a:gd name="T29" fmla="*/ 561 h 1121"/>
                <a:gd name="T30" fmla="*/ 1122 w 1122"/>
                <a:gd name="T31" fmla="*/ 561 h 1121"/>
                <a:gd name="T32" fmla="*/ 1078 w 1122"/>
                <a:gd name="T33" fmla="*/ 342 h 1121"/>
                <a:gd name="T34" fmla="*/ 875 w 1122"/>
                <a:gd name="T35" fmla="*/ 96 h 1121"/>
                <a:gd name="T36" fmla="*/ 561 w 1122"/>
                <a:gd name="T37" fmla="*/ 0 h 1121"/>
                <a:gd name="T38" fmla="*/ 343 w 1122"/>
                <a:gd name="T39" fmla="*/ 44 h 1121"/>
                <a:gd name="T40" fmla="*/ 96 w 1122"/>
                <a:gd name="T41" fmla="*/ 247 h 1121"/>
                <a:gd name="T42" fmla="*/ 0 w 1122"/>
                <a:gd name="T43" fmla="*/ 561 h 1121"/>
                <a:gd name="T44" fmla="*/ 44 w 1122"/>
                <a:gd name="T45" fmla="*/ 779 h 1121"/>
                <a:gd name="T46" fmla="*/ 248 w 1122"/>
                <a:gd name="T47" fmla="*/ 1026 h 1121"/>
                <a:gd name="T48" fmla="*/ 561 w 1122"/>
                <a:gd name="T49" fmla="*/ 1121 h 1121"/>
                <a:gd name="T50" fmla="*/ 779 w 1122"/>
                <a:gd name="T51" fmla="*/ 1077 h 1121"/>
                <a:gd name="T52" fmla="*/ 1026 w 1122"/>
                <a:gd name="T53" fmla="*/ 874 h 1121"/>
                <a:gd name="T54" fmla="*/ 1122 w 1122"/>
                <a:gd name="T55" fmla="*/ 561 h 1121"/>
                <a:gd name="T56" fmla="*/ 1076 w 1122"/>
                <a:gd name="T57" fmla="*/ 561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2" h="1121">
                  <a:moveTo>
                    <a:pt x="1076" y="561"/>
                  </a:moveTo>
                  <a:cubicBezTo>
                    <a:pt x="1030" y="561"/>
                    <a:pt x="1030" y="561"/>
                    <a:pt x="1030" y="561"/>
                  </a:cubicBezTo>
                  <a:cubicBezTo>
                    <a:pt x="1030" y="625"/>
                    <a:pt x="1017" y="687"/>
                    <a:pt x="993" y="743"/>
                  </a:cubicBezTo>
                  <a:cubicBezTo>
                    <a:pt x="958" y="827"/>
                    <a:pt x="898" y="899"/>
                    <a:pt x="823" y="949"/>
                  </a:cubicBezTo>
                  <a:cubicBezTo>
                    <a:pt x="748" y="1000"/>
                    <a:pt x="658" y="1029"/>
                    <a:pt x="561" y="1029"/>
                  </a:cubicBezTo>
                  <a:cubicBezTo>
                    <a:pt x="496" y="1029"/>
                    <a:pt x="435" y="1016"/>
                    <a:pt x="379" y="993"/>
                  </a:cubicBezTo>
                  <a:cubicBezTo>
                    <a:pt x="294" y="957"/>
                    <a:pt x="223" y="898"/>
                    <a:pt x="172" y="823"/>
                  </a:cubicBezTo>
                  <a:cubicBezTo>
                    <a:pt x="122" y="748"/>
                    <a:pt x="92" y="658"/>
                    <a:pt x="92" y="561"/>
                  </a:cubicBezTo>
                  <a:cubicBezTo>
                    <a:pt x="92" y="496"/>
                    <a:pt x="105" y="434"/>
                    <a:pt x="129" y="378"/>
                  </a:cubicBezTo>
                  <a:cubicBezTo>
                    <a:pt x="165" y="294"/>
                    <a:pt x="224" y="222"/>
                    <a:pt x="299" y="172"/>
                  </a:cubicBezTo>
                  <a:cubicBezTo>
                    <a:pt x="374" y="121"/>
                    <a:pt x="464" y="92"/>
                    <a:pt x="561" y="92"/>
                  </a:cubicBezTo>
                  <a:cubicBezTo>
                    <a:pt x="626" y="92"/>
                    <a:pt x="688" y="105"/>
                    <a:pt x="744" y="128"/>
                  </a:cubicBezTo>
                  <a:cubicBezTo>
                    <a:pt x="828" y="164"/>
                    <a:pt x="899" y="224"/>
                    <a:pt x="950" y="298"/>
                  </a:cubicBezTo>
                  <a:cubicBezTo>
                    <a:pt x="1000" y="373"/>
                    <a:pt x="1030" y="463"/>
                    <a:pt x="1030" y="561"/>
                  </a:cubicBezTo>
                  <a:cubicBezTo>
                    <a:pt x="1076" y="561"/>
                    <a:pt x="1076" y="561"/>
                    <a:pt x="1076" y="561"/>
                  </a:cubicBezTo>
                  <a:cubicBezTo>
                    <a:pt x="1122" y="561"/>
                    <a:pt x="1122" y="561"/>
                    <a:pt x="1122" y="561"/>
                  </a:cubicBezTo>
                  <a:cubicBezTo>
                    <a:pt x="1122" y="483"/>
                    <a:pt x="1106" y="409"/>
                    <a:pt x="1078" y="342"/>
                  </a:cubicBezTo>
                  <a:cubicBezTo>
                    <a:pt x="1035" y="242"/>
                    <a:pt x="964" y="156"/>
                    <a:pt x="875" y="96"/>
                  </a:cubicBezTo>
                  <a:cubicBezTo>
                    <a:pt x="785" y="35"/>
                    <a:pt x="677" y="0"/>
                    <a:pt x="561" y="0"/>
                  </a:cubicBezTo>
                  <a:cubicBezTo>
                    <a:pt x="484" y="0"/>
                    <a:pt x="410" y="15"/>
                    <a:pt x="343" y="44"/>
                  </a:cubicBezTo>
                  <a:cubicBezTo>
                    <a:pt x="242" y="86"/>
                    <a:pt x="157" y="157"/>
                    <a:pt x="96" y="247"/>
                  </a:cubicBezTo>
                  <a:cubicBezTo>
                    <a:pt x="36" y="336"/>
                    <a:pt x="0" y="445"/>
                    <a:pt x="0" y="561"/>
                  </a:cubicBezTo>
                  <a:cubicBezTo>
                    <a:pt x="0" y="638"/>
                    <a:pt x="16" y="712"/>
                    <a:pt x="44" y="779"/>
                  </a:cubicBezTo>
                  <a:cubicBezTo>
                    <a:pt x="87" y="880"/>
                    <a:pt x="158" y="965"/>
                    <a:pt x="248" y="1026"/>
                  </a:cubicBezTo>
                  <a:cubicBezTo>
                    <a:pt x="337" y="1086"/>
                    <a:pt x="445" y="1121"/>
                    <a:pt x="561" y="1121"/>
                  </a:cubicBezTo>
                  <a:cubicBezTo>
                    <a:pt x="638" y="1121"/>
                    <a:pt x="712" y="1106"/>
                    <a:pt x="779" y="1077"/>
                  </a:cubicBezTo>
                  <a:cubicBezTo>
                    <a:pt x="880" y="1035"/>
                    <a:pt x="966" y="964"/>
                    <a:pt x="1026" y="874"/>
                  </a:cubicBezTo>
                  <a:cubicBezTo>
                    <a:pt x="1087" y="785"/>
                    <a:pt x="1122" y="677"/>
                    <a:pt x="1122" y="561"/>
                  </a:cubicBezTo>
                  <a:lnTo>
                    <a:pt x="1076" y="56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829544">
                <a:defRPr/>
              </a:pPr>
              <a:endParaRPr lang="en-US" sz="1633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49" name="Freeform 98"/>
            <p:cNvSpPr>
              <a:spLocks/>
            </p:cNvSpPr>
            <p:nvPr/>
          </p:nvSpPr>
          <p:spPr bwMode="auto">
            <a:xfrm>
              <a:off x="5135194" y="2621591"/>
              <a:ext cx="1906824" cy="1905322"/>
            </a:xfrm>
            <a:custGeom>
              <a:avLst/>
              <a:gdLst>
                <a:gd name="T0" fmla="*/ 1053 w 1076"/>
                <a:gd name="T1" fmla="*/ 538 h 1075"/>
                <a:gd name="T2" fmla="*/ 1030 w 1076"/>
                <a:gd name="T3" fmla="*/ 538 h 1075"/>
                <a:gd name="T4" fmla="*/ 886 w 1076"/>
                <a:gd name="T5" fmla="*/ 885 h 1075"/>
                <a:gd name="T6" fmla="*/ 538 w 1076"/>
                <a:gd name="T7" fmla="*/ 1029 h 1075"/>
                <a:gd name="T8" fmla="*/ 190 w 1076"/>
                <a:gd name="T9" fmla="*/ 885 h 1075"/>
                <a:gd name="T10" fmla="*/ 46 w 1076"/>
                <a:gd name="T11" fmla="*/ 538 h 1075"/>
                <a:gd name="T12" fmla="*/ 190 w 1076"/>
                <a:gd name="T13" fmla="*/ 190 h 1075"/>
                <a:gd name="T14" fmla="*/ 538 w 1076"/>
                <a:gd name="T15" fmla="*/ 46 h 1075"/>
                <a:gd name="T16" fmla="*/ 886 w 1076"/>
                <a:gd name="T17" fmla="*/ 190 h 1075"/>
                <a:gd name="T18" fmla="*/ 1030 w 1076"/>
                <a:gd name="T19" fmla="*/ 538 h 1075"/>
                <a:gd name="T20" fmla="*/ 1053 w 1076"/>
                <a:gd name="T21" fmla="*/ 538 h 1075"/>
                <a:gd name="T22" fmla="*/ 1076 w 1076"/>
                <a:gd name="T23" fmla="*/ 538 h 1075"/>
                <a:gd name="T24" fmla="*/ 918 w 1076"/>
                <a:gd name="T25" fmla="*/ 157 h 1075"/>
                <a:gd name="T26" fmla="*/ 538 w 1076"/>
                <a:gd name="T27" fmla="*/ 0 h 1075"/>
                <a:gd name="T28" fmla="*/ 158 w 1076"/>
                <a:gd name="T29" fmla="*/ 157 h 1075"/>
                <a:gd name="T30" fmla="*/ 0 w 1076"/>
                <a:gd name="T31" fmla="*/ 538 h 1075"/>
                <a:gd name="T32" fmla="*/ 158 w 1076"/>
                <a:gd name="T33" fmla="*/ 918 h 1075"/>
                <a:gd name="T34" fmla="*/ 538 w 1076"/>
                <a:gd name="T35" fmla="*/ 1075 h 1075"/>
                <a:gd name="T36" fmla="*/ 918 w 1076"/>
                <a:gd name="T37" fmla="*/ 918 h 1075"/>
                <a:gd name="T38" fmla="*/ 1076 w 1076"/>
                <a:gd name="T39" fmla="*/ 538 h 1075"/>
                <a:gd name="T40" fmla="*/ 1053 w 1076"/>
                <a:gd name="T41" fmla="*/ 538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6" h="1075">
                  <a:moveTo>
                    <a:pt x="1053" y="538"/>
                  </a:moveTo>
                  <a:cubicBezTo>
                    <a:pt x="1030" y="538"/>
                    <a:pt x="1030" y="538"/>
                    <a:pt x="1030" y="538"/>
                  </a:cubicBezTo>
                  <a:cubicBezTo>
                    <a:pt x="1030" y="673"/>
                    <a:pt x="975" y="796"/>
                    <a:pt x="886" y="885"/>
                  </a:cubicBezTo>
                  <a:cubicBezTo>
                    <a:pt x="797" y="974"/>
                    <a:pt x="674" y="1029"/>
                    <a:pt x="538" y="1029"/>
                  </a:cubicBezTo>
                  <a:cubicBezTo>
                    <a:pt x="402" y="1029"/>
                    <a:pt x="279" y="974"/>
                    <a:pt x="190" y="885"/>
                  </a:cubicBezTo>
                  <a:cubicBezTo>
                    <a:pt x="101" y="796"/>
                    <a:pt x="46" y="673"/>
                    <a:pt x="46" y="538"/>
                  </a:cubicBezTo>
                  <a:cubicBezTo>
                    <a:pt x="46" y="402"/>
                    <a:pt x="101" y="279"/>
                    <a:pt x="190" y="190"/>
                  </a:cubicBezTo>
                  <a:cubicBezTo>
                    <a:pt x="279" y="101"/>
                    <a:pt x="402" y="46"/>
                    <a:pt x="538" y="46"/>
                  </a:cubicBezTo>
                  <a:cubicBezTo>
                    <a:pt x="674" y="46"/>
                    <a:pt x="797" y="101"/>
                    <a:pt x="886" y="190"/>
                  </a:cubicBezTo>
                  <a:cubicBezTo>
                    <a:pt x="975" y="279"/>
                    <a:pt x="1030" y="402"/>
                    <a:pt x="1030" y="538"/>
                  </a:cubicBezTo>
                  <a:cubicBezTo>
                    <a:pt x="1053" y="538"/>
                    <a:pt x="1053" y="538"/>
                    <a:pt x="1053" y="538"/>
                  </a:cubicBezTo>
                  <a:cubicBezTo>
                    <a:pt x="1076" y="538"/>
                    <a:pt x="1076" y="538"/>
                    <a:pt x="1076" y="538"/>
                  </a:cubicBezTo>
                  <a:cubicBezTo>
                    <a:pt x="1076" y="389"/>
                    <a:pt x="1016" y="255"/>
                    <a:pt x="918" y="157"/>
                  </a:cubicBezTo>
                  <a:cubicBezTo>
                    <a:pt x="821" y="60"/>
                    <a:pt x="687" y="0"/>
                    <a:pt x="538" y="0"/>
                  </a:cubicBezTo>
                  <a:cubicBezTo>
                    <a:pt x="390" y="0"/>
                    <a:pt x="255" y="60"/>
                    <a:pt x="158" y="157"/>
                  </a:cubicBezTo>
                  <a:cubicBezTo>
                    <a:pt x="61" y="255"/>
                    <a:pt x="0" y="389"/>
                    <a:pt x="0" y="538"/>
                  </a:cubicBezTo>
                  <a:cubicBezTo>
                    <a:pt x="0" y="686"/>
                    <a:pt x="61" y="821"/>
                    <a:pt x="158" y="918"/>
                  </a:cubicBezTo>
                  <a:cubicBezTo>
                    <a:pt x="255" y="1015"/>
                    <a:pt x="390" y="1075"/>
                    <a:pt x="538" y="1075"/>
                  </a:cubicBezTo>
                  <a:cubicBezTo>
                    <a:pt x="687" y="1075"/>
                    <a:pt x="821" y="1015"/>
                    <a:pt x="918" y="918"/>
                  </a:cubicBezTo>
                  <a:cubicBezTo>
                    <a:pt x="1016" y="821"/>
                    <a:pt x="1076" y="686"/>
                    <a:pt x="1076" y="538"/>
                  </a:cubicBezTo>
                  <a:lnTo>
                    <a:pt x="1053" y="5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829544">
                <a:defRPr/>
              </a:pPr>
              <a:endParaRPr lang="en-US" sz="1633">
                <a:solidFill>
                  <a:prstClr val="black"/>
                </a:solidFill>
                <a:latin typeface="Open Sans"/>
              </a:endParaRPr>
            </a:p>
          </p:txBody>
        </p:sp>
        <p:sp>
          <p:nvSpPr>
            <p:cNvPr id="50" name="Oval 19"/>
            <p:cNvSpPr>
              <a:spLocks noChangeArrowheads="1"/>
            </p:cNvSpPr>
            <p:nvPr/>
          </p:nvSpPr>
          <p:spPr bwMode="auto">
            <a:xfrm>
              <a:off x="5177288" y="2663676"/>
              <a:ext cx="1822634" cy="18226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829544">
                <a:defRPr/>
              </a:pPr>
              <a:endParaRPr lang="en-US" sz="1633">
                <a:solidFill>
                  <a:prstClr val="black"/>
                </a:solidFill>
                <a:latin typeface="Open Sans"/>
              </a:endParaRPr>
            </a:p>
          </p:txBody>
        </p:sp>
      </p:grpSp>
      <p:grpSp>
        <p:nvGrpSpPr>
          <p:cNvPr id="104" name="Graphic 4">
            <a:extLst>
              <a:ext uri="{FF2B5EF4-FFF2-40B4-BE49-F238E27FC236}">
                <a16:creationId xmlns:a16="http://schemas.microsoft.com/office/drawing/2014/main" xmlns="" id="{184C437A-E351-6947-B985-8D2FF1368E6A}"/>
              </a:ext>
            </a:extLst>
          </p:cNvPr>
          <p:cNvGrpSpPr/>
          <p:nvPr/>
        </p:nvGrpSpPr>
        <p:grpSpPr>
          <a:xfrm>
            <a:off x="5862351" y="2555854"/>
            <a:ext cx="540000" cy="540000"/>
            <a:chOff x="7191874" y="918179"/>
            <a:chExt cx="362312" cy="361971"/>
          </a:xfrm>
          <a:solidFill>
            <a:schemeClr val="accent1"/>
          </a:solidFill>
        </p:grpSpPr>
        <p:sp>
          <p:nvSpPr>
            <p:cNvPr id="105" name="Graphic 4">
              <a:extLst>
                <a:ext uri="{FF2B5EF4-FFF2-40B4-BE49-F238E27FC236}">
                  <a16:creationId xmlns:a16="http://schemas.microsoft.com/office/drawing/2014/main" xmlns="" id="{33977D26-C71B-A64C-A5F1-5435DD6A5A26}"/>
                </a:ext>
              </a:extLst>
            </p:cNvPr>
            <p:cNvSpPr/>
            <p:nvPr/>
          </p:nvSpPr>
          <p:spPr>
            <a:xfrm>
              <a:off x="7286445" y="1062457"/>
              <a:ext cx="28115" cy="28089"/>
            </a:xfrm>
            <a:custGeom>
              <a:avLst/>
              <a:gdLst>
                <a:gd name="connsiteX0" fmla="*/ 14058 w 28115"/>
                <a:gd name="connsiteY0" fmla="*/ 28089 h 28089"/>
                <a:gd name="connsiteX1" fmla="*/ 28115 w 28115"/>
                <a:gd name="connsiteY1" fmla="*/ 14045 h 28089"/>
                <a:gd name="connsiteX2" fmla="*/ 14058 w 28115"/>
                <a:gd name="connsiteY2" fmla="*/ 0 h 28089"/>
                <a:gd name="connsiteX3" fmla="*/ 0 w 28115"/>
                <a:gd name="connsiteY3" fmla="*/ 14045 h 28089"/>
                <a:gd name="connsiteX4" fmla="*/ 0 w 28115"/>
                <a:gd name="connsiteY4" fmla="*/ 14045 h 28089"/>
                <a:gd name="connsiteX5" fmla="*/ 14058 w 28115"/>
                <a:gd name="connsiteY5" fmla="*/ 28089 h 28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15" h="28089">
                  <a:moveTo>
                    <a:pt x="14058" y="28089"/>
                  </a:moveTo>
                  <a:cubicBezTo>
                    <a:pt x="21725" y="28089"/>
                    <a:pt x="28115" y="21706"/>
                    <a:pt x="28115" y="14045"/>
                  </a:cubicBezTo>
                  <a:cubicBezTo>
                    <a:pt x="28115" y="6384"/>
                    <a:pt x="21725" y="0"/>
                    <a:pt x="14058" y="0"/>
                  </a:cubicBezTo>
                  <a:cubicBezTo>
                    <a:pt x="6390" y="0"/>
                    <a:pt x="0" y="6384"/>
                    <a:pt x="0" y="14045"/>
                  </a:cubicBezTo>
                  <a:cubicBezTo>
                    <a:pt x="0" y="14045"/>
                    <a:pt x="0" y="14045"/>
                    <a:pt x="0" y="14045"/>
                  </a:cubicBezTo>
                  <a:cubicBezTo>
                    <a:pt x="0" y="21706"/>
                    <a:pt x="6390" y="28089"/>
                    <a:pt x="14058" y="2808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Graphic 4">
              <a:extLst>
                <a:ext uri="{FF2B5EF4-FFF2-40B4-BE49-F238E27FC236}">
                  <a16:creationId xmlns:a16="http://schemas.microsoft.com/office/drawing/2014/main" xmlns="" id="{46B527EB-BC36-8741-9F40-60ECEEC818CE}"/>
                </a:ext>
              </a:extLst>
            </p:cNvPr>
            <p:cNvSpPr/>
            <p:nvPr/>
          </p:nvSpPr>
          <p:spPr>
            <a:xfrm>
              <a:off x="7372070" y="1086716"/>
              <a:ext cx="7667" cy="7660"/>
            </a:xfrm>
            <a:custGeom>
              <a:avLst/>
              <a:gdLst>
                <a:gd name="connsiteX0" fmla="*/ 0 w 7667"/>
                <a:gd name="connsiteY0" fmla="*/ 0 h 7660"/>
                <a:gd name="connsiteX1" fmla="*/ 7667 w 7667"/>
                <a:gd name="connsiteY1" fmla="*/ 0 h 7660"/>
                <a:gd name="connsiteX2" fmla="*/ 7667 w 7667"/>
                <a:gd name="connsiteY2" fmla="*/ 7661 h 7660"/>
                <a:gd name="connsiteX3" fmla="*/ 0 w 7667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7" h="7660">
                  <a:moveTo>
                    <a:pt x="0" y="0"/>
                  </a:moveTo>
                  <a:lnTo>
                    <a:pt x="7667" y="0"/>
                  </a:lnTo>
                  <a:lnTo>
                    <a:pt x="7667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Graphic 4">
              <a:extLst>
                <a:ext uri="{FF2B5EF4-FFF2-40B4-BE49-F238E27FC236}">
                  <a16:creationId xmlns:a16="http://schemas.microsoft.com/office/drawing/2014/main" xmlns="" id="{415D706E-E97D-5543-8A61-75C5FCBA9CD8}"/>
                </a:ext>
              </a:extLst>
            </p:cNvPr>
            <p:cNvSpPr/>
            <p:nvPr/>
          </p:nvSpPr>
          <p:spPr>
            <a:xfrm>
              <a:off x="7191874" y="918179"/>
              <a:ext cx="362312" cy="361971"/>
            </a:xfrm>
            <a:custGeom>
              <a:avLst/>
              <a:gdLst>
                <a:gd name="connsiteX0" fmla="*/ 181474 w 362312"/>
                <a:gd name="connsiteY0" fmla="*/ 0 h 361971"/>
                <a:gd name="connsiteX1" fmla="*/ 0 w 362312"/>
                <a:gd name="connsiteY1" fmla="*/ 180667 h 361971"/>
                <a:gd name="connsiteX2" fmla="*/ 180836 w 362312"/>
                <a:gd name="connsiteY2" fmla="*/ 361972 h 361971"/>
                <a:gd name="connsiteX3" fmla="*/ 362309 w 362312"/>
                <a:gd name="connsiteY3" fmla="*/ 181305 h 361971"/>
                <a:gd name="connsiteX4" fmla="*/ 362309 w 362312"/>
                <a:gd name="connsiteY4" fmla="*/ 181305 h 361971"/>
                <a:gd name="connsiteX5" fmla="*/ 181474 w 362312"/>
                <a:gd name="connsiteY5" fmla="*/ 0 h 361971"/>
                <a:gd name="connsiteX6" fmla="*/ 108629 w 362312"/>
                <a:gd name="connsiteY6" fmla="*/ 131510 h 361971"/>
                <a:gd name="connsiteX7" fmla="*/ 135466 w 362312"/>
                <a:gd name="connsiteY7" fmla="*/ 158323 h 361971"/>
                <a:gd name="connsiteX8" fmla="*/ 108629 w 362312"/>
                <a:gd name="connsiteY8" fmla="*/ 185135 h 361971"/>
                <a:gd name="connsiteX9" fmla="*/ 81792 w 362312"/>
                <a:gd name="connsiteY9" fmla="*/ 158323 h 361971"/>
                <a:gd name="connsiteX10" fmla="*/ 81792 w 362312"/>
                <a:gd name="connsiteY10" fmla="*/ 158323 h 361971"/>
                <a:gd name="connsiteX11" fmla="*/ 108629 w 362312"/>
                <a:gd name="connsiteY11" fmla="*/ 131510 h 361971"/>
                <a:gd name="connsiteX12" fmla="*/ 108629 w 362312"/>
                <a:gd name="connsiteY12" fmla="*/ 131510 h 361971"/>
                <a:gd name="connsiteX13" fmla="*/ 179557 w 362312"/>
                <a:gd name="connsiteY13" fmla="*/ 207479 h 361971"/>
                <a:gd name="connsiteX14" fmla="*/ 178279 w 362312"/>
                <a:gd name="connsiteY14" fmla="*/ 208756 h 361971"/>
                <a:gd name="connsiteX15" fmla="*/ 175084 w 362312"/>
                <a:gd name="connsiteY15" fmla="*/ 211310 h 361971"/>
                <a:gd name="connsiteX16" fmla="*/ 163582 w 362312"/>
                <a:gd name="connsiteY16" fmla="*/ 254083 h 361971"/>
                <a:gd name="connsiteX17" fmla="*/ 157192 w 362312"/>
                <a:gd name="connsiteY17" fmla="*/ 258551 h 361971"/>
                <a:gd name="connsiteX18" fmla="*/ 155276 w 362312"/>
                <a:gd name="connsiteY18" fmla="*/ 258551 h 361971"/>
                <a:gd name="connsiteX19" fmla="*/ 150802 w 362312"/>
                <a:gd name="connsiteY19" fmla="*/ 250891 h 361971"/>
                <a:gd name="connsiteX20" fmla="*/ 157831 w 362312"/>
                <a:gd name="connsiteY20" fmla="*/ 225355 h 361971"/>
                <a:gd name="connsiteX21" fmla="*/ 146330 w 362312"/>
                <a:gd name="connsiteY21" fmla="*/ 254721 h 361971"/>
                <a:gd name="connsiteX22" fmla="*/ 138022 w 362312"/>
                <a:gd name="connsiteY22" fmla="*/ 258551 h 361971"/>
                <a:gd name="connsiteX23" fmla="*/ 133550 w 362312"/>
                <a:gd name="connsiteY23" fmla="*/ 252806 h 361971"/>
                <a:gd name="connsiteX24" fmla="*/ 133550 w 362312"/>
                <a:gd name="connsiteY24" fmla="*/ 216417 h 361971"/>
                <a:gd name="connsiteX25" fmla="*/ 120131 w 362312"/>
                <a:gd name="connsiteY25" fmla="*/ 202372 h 361971"/>
                <a:gd name="connsiteX26" fmla="*/ 120131 w 362312"/>
                <a:gd name="connsiteY26" fmla="*/ 202372 h 361971"/>
                <a:gd name="connsiteX27" fmla="*/ 95849 w 362312"/>
                <a:gd name="connsiteY27" fmla="*/ 202372 h 361971"/>
                <a:gd name="connsiteX28" fmla="*/ 81792 w 362312"/>
                <a:gd name="connsiteY28" fmla="*/ 215779 h 361971"/>
                <a:gd name="connsiteX29" fmla="*/ 81792 w 362312"/>
                <a:gd name="connsiteY29" fmla="*/ 216417 h 361971"/>
                <a:gd name="connsiteX30" fmla="*/ 81792 w 362312"/>
                <a:gd name="connsiteY30" fmla="*/ 252806 h 361971"/>
                <a:gd name="connsiteX31" fmla="*/ 75402 w 362312"/>
                <a:gd name="connsiteY31" fmla="*/ 259190 h 361971"/>
                <a:gd name="connsiteX32" fmla="*/ 69012 w 362312"/>
                <a:gd name="connsiteY32" fmla="*/ 252806 h 361971"/>
                <a:gd name="connsiteX33" fmla="*/ 69012 w 362312"/>
                <a:gd name="connsiteY33" fmla="*/ 216417 h 361971"/>
                <a:gd name="connsiteX34" fmla="*/ 95210 w 362312"/>
                <a:gd name="connsiteY34" fmla="*/ 189604 h 361971"/>
                <a:gd name="connsiteX35" fmla="*/ 95849 w 362312"/>
                <a:gd name="connsiteY35" fmla="*/ 189604 h 361971"/>
                <a:gd name="connsiteX36" fmla="*/ 120131 w 362312"/>
                <a:gd name="connsiteY36" fmla="*/ 189604 h 361971"/>
                <a:gd name="connsiteX37" fmla="*/ 146969 w 362312"/>
                <a:gd name="connsiteY37" fmla="*/ 215779 h 361971"/>
                <a:gd name="connsiteX38" fmla="*/ 146969 w 362312"/>
                <a:gd name="connsiteY38" fmla="*/ 216417 h 361971"/>
                <a:gd name="connsiteX39" fmla="*/ 146969 w 362312"/>
                <a:gd name="connsiteY39" fmla="*/ 218332 h 361971"/>
                <a:gd name="connsiteX40" fmla="*/ 152720 w 362312"/>
                <a:gd name="connsiteY40" fmla="*/ 203011 h 361971"/>
                <a:gd name="connsiteX41" fmla="*/ 164221 w 362312"/>
                <a:gd name="connsiteY41" fmla="*/ 192796 h 361971"/>
                <a:gd name="connsiteX42" fmla="*/ 167416 w 362312"/>
                <a:gd name="connsiteY42" fmla="*/ 192158 h 361971"/>
                <a:gd name="connsiteX43" fmla="*/ 180196 w 362312"/>
                <a:gd name="connsiteY43" fmla="*/ 197265 h 361971"/>
                <a:gd name="connsiteX44" fmla="*/ 179557 w 362312"/>
                <a:gd name="connsiteY44" fmla="*/ 207479 h 361971"/>
                <a:gd name="connsiteX45" fmla="*/ 179557 w 362312"/>
                <a:gd name="connsiteY45" fmla="*/ 207479 h 361971"/>
                <a:gd name="connsiteX46" fmla="*/ 200005 w 362312"/>
                <a:gd name="connsiteY46" fmla="*/ 182582 h 361971"/>
                <a:gd name="connsiteX47" fmla="*/ 193615 w 362312"/>
                <a:gd name="connsiteY47" fmla="*/ 188966 h 361971"/>
                <a:gd name="connsiteX48" fmla="*/ 173167 w 362312"/>
                <a:gd name="connsiteY48" fmla="*/ 188966 h 361971"/>
                <a:gd name="connsiteX49" fmla="*/ 166777 w 362312"/>
                <a:gd name="connsiteY49" fmla="*/ 182582 h 361971"/>
                <a:gd name="connsiteX50" fmla="*/ 166777 w 362312"/>
                <a:gd name="connsiteY50" fmla="*/ 162153 h 361971"/>
                <a:gd name="connsiteX51" fmla="*/ 173167 w 362312"/>
                <a:gd name="connsiteY51" fmla="*/ 155769 h 361971"/>
                <a:gd name="connsiteX52" fmla="*/ 193615 w 362312"/>
                <a:gd name="connsiteY52" fmla="*/ 155769 h 361971"/>
                <a:gd name="connsiteX53" fmla="*/ 200005 w 362312"/>
                <a:gd name="connsiteY53" fmla="*/ 162153 h 361971"/>
                <a:gd name="connsiteX54" fmla="*/ 200005 w 362312"/>
                <a:gd name="connsiteY54" fmla="*/ 182582 h 361971"/>
                <a:gd name="connsiteX55" fmla="*/ 200005 w 362312"/>
                <a:gd name="connsiteY55" fmla="*/ 130233 h 361971"/>
                <a:gd name="connsiteX56" fmla="*/ 193615 w 362312"/>
                <a:gd name="connsiteY56" fmla="*/ 136617 h 361971"/>
                <a:gd name="connsiteX57" fmla="*/ 173167 w 362312"/>
                <a:gd name="connsiteY57" fmla="*/ 136617 h 361971"/>
                <a:gd name="connsiteX58" fmla="*/ 166777 w 362312"/>
                <a:gd name="connsiteY58" fmla="*/ 130233 h 361971"/>
                <a:gd name="connsiteX59" fmla="*/ 166777 w 362312"/>
                <a:gd name="connsiteY59" fmla="*/ 109804 h 361971"/>
                <a:gd name="connsiteX60" fmla="*/ 173167 w 362312"/>
                <a:gd name="connsiteY60" fmla="*/ 103420 h 361971"/>
                <a:gd name="connsiteX61" fmla="*/ 193615 w 362312"/>
                <a:gd name="connsiteY61" fmla="*/ 103420 h 361971"/>
                <a:gd name="connsiteX62" fmla="*/ 200005 w 362312"/>
                <a:gd name="connsiteY62" fmla="*/ 109804 h 361971"/>
                <a:gd name="connsiteX63" fmla="*/ 200005 w 362312"/>
                <a:gd name="connsiteY63" fmla="*/ 130233 h 361971"/>
                <a:gd name="connsiteX64" fmla="*/ 287547 w 362312"/>
                <a:gd name="connsiteY64" fmla="*/ 188966 h 361971"/>
                <a:gd name="connsiteX65" fmla="*/ 218536 w 362312"/>
                <a:gd name="connsiteY65" fmla="*/ 188966 h 361971"/>
                <a:gd name="connsiteX66" fmla="*/ 212146 w 362312"/>
                <a:gd name="connsiteY66" fmla="*/ 182582 h 361971"/>
                <a:gd name="connsiteX67" fmla="*/ 218536 w 362312"/>
                <a:gd name="connsiteY67" fmla="*/ 176198 h 361971"/>
                <a:gd name="connsiteX68" fmla="*/ 287547 w 362312"/>
                <a:gd name="connsiteY68" fmla="*/ 176198 h 361971"/>
                <a:gd name="connsiteX69" fmla="*/ 293937 w 362312"/>
                <a:gd name="connsiteY69" fmla="*/ 182582 h 361971"/>
                <a:gd name="connsiteX70" fmla="*/ 287547 w 362312"/>
                <a:gd name="connsiteY70" fmla="*/ 188966 h 361971"/>
                <a:gd name="connsiteX71" fmla="*/ 287547 w 362312"/>
                <a:gd name="connsiteY71" fmla="*/ 169176 h 361971"/>
                <a:gd name="connsiteX72" fmla="*/ 218536 w 362312"/>
                <a:gd name="connsiteY72" fmla="*/ 169176 h 361971"/>
                <a:gd name="connsiteX73" fmla="*/ 212146 w 362312"/>
                <a:gd name="connsiteY73" fmla="*/ 162792 h 361971"/>
                <a:gd name="connsiteX74" fmla="*/ 218536 w 362312"/>
                <a:gd name="connsiteY74" fmla="*/ 156408 h 361971"/>
                <a:gd name="connsiteX75" fmla="*/ 287547 w 362312"/>
                <a:gd name="connsiteY75" fmla="*/ 156408 h 361971"/>
                <a:gd name="connsiteX76" fmla="*/ 293937 w 362312"/>
                <a:gd name="connsiteY76" fmla="*/ 162792 h 361971"/>
                <a:gd name="connsiteX77" fmla="*/ 287547 w 362312"/>
                <a:gd name="connsiteY77" fmla="*/ 169176 h 361971"/>
                <a:gd name="connsiteX78" fmla="*/ 287547 w 362312"/>
                <a:gd name="connsiteY78" fmla="*/ 136617 h 361971"/>
                <a:gd name="connsiteX79" fmla="*/ 218536 w 362312"/>
                <a:gd name="connsiteY79" fmla="*/ 136617 h 361971"/>
                <a:gd name="connsiteX80" fmla="*/ 212146 w 362312"/>
                <a:gd name="connsiteY80" fmla="*/ 130233 h 361971"/>
                <a:gd name="connsiteX81" fmla="*/ 218536 w 362312"/>
                <a:gd name="connsiteY81" fmla="*/ 123849 h 361971"/>
                <a:gd name="connsiteX82" fmla="*/ 287547 w 362312"/>
                <a:gd name="connsiteY82" fmla="*/ 123849 h 361971"/>
                <a:gd name="connsiteX83" fmla="*/ 293937 w 362312"/>
                <a:gd name="connsiteY83" fmla="*/ 130233 h 361971"/>
                <a:gd name="connsiteX84" fmla="*/ 287547 w 362312"/>
                <a:gd name="connsiteY84" fmla="*/ 136617 h 361971"/>
                <a:gd name="connsiteX85" fmla="*/ 287547 w 362312"/>
                <a:gd name="connsiteY85" fmla="*/ 116188 h 361971"/>
                <a:gd name="connsiteX86" fmla="*/ 218536 w 362312"/>
                <a:gd name="connsiteY86" fmla="*/ 116188 h 361971"/>
                <a:gd name="connsiteX87" fmla="*/ 212146 w 362312"/>
                <a:gd name="connsiteY87" fmla="*/ 109804 h 361971"/>
                <a:gd name="connsiteX88" fmla="*/ 218536 w 362312"/>
                <a:gd name="connsiteY88" fmla="*/ 103420 h 361971"/>
                <a:gd name="connsiteX89" fmla="*/ 287547 w 362312"/>
                <a:gd name="connsiteY89" fmla="*/ 103420 h 361971"/>
                <a:gd name="connsiteX90" fmla="*/ 293937 w 362312"/>
                <a:gd name="connsiteY90" fmla="*/ 109804 h 361971"/>
                <a:gd name="connsiteX91" fmla="*/ 287547 w 362312"/>
                <a:gd name="connsiteY91" fmla="*/ 11618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62312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6" y="361972"/>
                  </a:cubicBezTo>
                  <a:cubicBezTo>
                    <a:pt x="281157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2949" y="81077"/>
                    <a:pt x="281796" y="0"/>
                    <a:pt x="181474" y="0"/>
                  </a:cubicBezTo>
                  <a:close/>
                  <a:moveTo>
                    <a:pt x="108629" y="131510"/>
                  </a:moveTo>
                  <a:cubicBezTo>
                    <a:pt x="123326" y="131510"/>
                    <a:pt x="135466" y="143640"/>
                    <a:pt x="135466" y="158323"/>
                  </a:cubicBezTo>
                  <a:cubicBezTo>
                    <a:pt x="135466" y="173006"/>
                    <a:pt x="123326" y="185135"/>
                    <a:pt x="108629" y="185135"/>
                  </a:cubicBezTo>
                  <a:cubicBezTo>
                    <a:pt x="93932" y="185135"/>
                    <a:pt x="81792" y="173006"/>
                    <a:pt x="81792" y="158323"/>
                  </a:cubicBezTo>
                  <a:cubicBezTo>
                    <a:pt x="81792" y="158323"/>
                    <a:pt x="81792" y="158323"/>
                    <a:pt x="81792" y="158323"/>
                  </a:cubicBezTo>
                  <a:cubicBezTo>
                    <a:pt x="81792" y="143640"/>
                    <a:pt x="93293" y="131510"/>
                    <a:pt x="108629" y="131510"/>
                  </a:cubicBezTo>
                  <a:lnTo>
                    <a:pt x="108629" y="131510"/>
                  </a:lnTo>
                  <a:close/>
                  <a:moveTo>
                    <a:pt x="179557" y="207479"/>
                  </a:moveTo>
                  <a:cubicBezTo>
                    <a:pt x="178918" y="208118"/>
                    <a:pt x="178918" y="208756"/>
                    <a:pt x="178279" y="208756"/>
                  </a:cubicBezTo>
                  <a:lnTo>
                    <a:pt x="175084" y="211310"/>
                  </a:lnTo>
                  <a:lnTo>
                    <a:pt x="163582" y="254083"/>
                  </a:lnTo>
                  <a:cubicBezTo>
                    <a:pt x="162943" y="256636"/>
                    <a:pt x="160387" y="259190"/>
                    <a:pt x="157192" y="258551"/>
                  </a:cubicBezTo>
                  <a:cubicBezTo>
                    <a:pt x="156553" y="258551"/>
                    <a:pt x="155915" y="258551"/>
                    <a:pt x="155276" y="258551"/>
                  </a:cubicBezTo>
                  <a:cubicBezTo>
                    <a:pt x="152081" y="257913"/>
                    <a:pt x="150164" y="254083"/>
                    <a:pt x="150802" y="250891"/>
                  </a:cubicBezTo>
                  <a:lnTo>
                    <a:pt x="157831" y="225355"/>
                  </a:lnTo>
                  <a:lnTo>
                    <a:pt x="146330" y="254721"/>
                  </a:lnTo>
                  <a:cubicBezTo>
                    <a:pt x="145051" y="257913"/>
                    <a:pt x="141217" y="259828"/>
                    <a:pt x="138022" y="258551"/>
                  </a:cubicBezTo>
                  <a:cubicBezTo>
                    <a:pt x="135466" y="257913"/>
                    <a:pt x="133550" y="255359"/>
                    <a:pt x="133550" y="252806"/>
                  </a:cubicBezTo>
                  <a:lnTo>
                    <a:pt x="133550" y="216417"/>
                  </a:lnTo>
                  <a:cubicBezTo>
                    <a:pt x="133550" y="208756"/>
                    <a:pt x="127799" y="202372"/>
                    <a:pt x="120131" y="202372"/>
                  </a:cubicBezTo>
                  <a:cubicBezTo>
                    <a:pt x="120131" y="202372"/>
                    <a:pt x="120131" y="202372"/>
                    <a:pt x="120131" y="202372"/>
                  </a:cubicBezTo>
                  <a:lnTo>
                    <a:pt x="95849" y="202372"/>
                  </a:lnTo>
                  <a:cubicBezTo>
                    <a:pt x="88181" y="202372"/>
                    <a:pt x="81792" y="208118"/>
                    <a:pt x="81792" y="215779"/>
                  </a:cubicBezTo>
                  <a:cubicBezTo>
                    <a:pt x="81792" y="215779"/>
                    <a:pt x="81792" y="215779"/>
                    <a:pt x="81792" y="216417"/>
                  </a:cubicBezTo>
                  <a:lnTo>
                    <a:pt x="81792" y="252806"/>
                  </a:lnTo>
                  <a:cubicBezTo>
                    <a:pt x="81792" y="256636"/>
                    <a:pt x="79235" y="259190"/>
                    <a:pt x="75402" y="259190"/>
                  </a:cubicBezTo>
                  <a:cubicBezTo>
                    <a:pt x="71567" y="259190"/>
                    <a:pt x="69012" y="256636"/>
                    <a:pt x="69012" y="252806"/>
                  </a:cubicBezTo>
                  <a:lnTo>
                    <a:pt x="69012" y="216417"/>
                  </a:lnTo>
                  <a:cubicBezTo>
                    <a:pt x="69012" y="201734"/>
                    <a:pt x="80513" y="189604"/>
                    <a:pt x="95210" y="189604"/>
                  </a:cubicBezTo>
                  <a:cubicBezTo>
                    <a:pt x="95210" y="189604"/>
                    <a:pt x="95849" y="189604"/>
                    <a:pt x="95849" y="189604"/>
                  </a:cubicBezTo>
                  <a:lnTo>
                    <a:pt x="120131" y="189604"/>
                  </a:lnTo>
                  <a:cubicBezTo>
                    <a:pt x="134828" y="189604"/>
                    <a:pt x="146969" y="201095"/>
                    <a:pt x="146969" y="215779"/>
                  </a:cubicBezTo>
                  <a:cubicBezTo>
                    <a:pt x="146969" y="215779"/>
                    <a:pt x="146969" y="216417"/>
                    <a:pt x="146969" y="216417"/>
                  </a:cubicBezTo>
                  <a:lnTo>
                    <a:pt x="146969" y="218332"/>
                  </a:lnTo>
                  <a:lnTo>
                    <a:pt x="152720" y="203011"/>
                  </a:lnTo>
                  <a:cubicBezTo>
                    <a:pt x="154636" y="197903"/>
                    <a:pt x="159110" y="194711"/>
                    <a:pt x="164221" y="192796"/>
                  </a:cubicBezTo>
                  <a:lnTo>
                    <a:pt x="167416" y="192158"/>
                  </a:lnTo>
                  <a:cubicBezTo>
                    <a:pt x="172528" y="190881"/>
                    <a:pt x="177001" y="192796"/>
                    <a:pt x="180196" y="197265"/>
                  </a:cubicBezTo>
                  <a:cubicBezTo>
                    <a:pt x="182113" y="199819"/>
                    <a:pt x="182113" y="204287"/>
                    <a:pt x="179557" y="207479"/>
                  </a:cubicBezTo>
                  <a:lnTo>
                    <a:pt x="179557" y="207479"/>
                  </a:lnTo>
                  <a:close/>
                  <a:moveTo>
                    <a:pt x="200005" y="182582"/>
                  </a:moveTo>
                  <a:cubicBezTo>
                    <a:pt x="200005" y="186412"/>
                    <a:pt x="197449" y="188966"/>
                    <a:pt x="193615" y="188966"/>
                  </a:cubicBezTo>
                  <a:lnTo>
                    <a:pt x="173167" y="188966"/>
                  </a:lnTo>
                  <a:cubicBezTo>
                    <a:pt x="169333" y="188966"/>
                    <a:pt x="166777" y="186412"/>
                    <a:pt x="166777" y="182582"/>
                  </a:cubicBezTo>
                  <a:lnTo>
                    <a:pt x="166777" y="162153"/>
                  </a:lnTo>
                  <a:cubicBezTo>
                    <a:pt x="166777" y="158323"/>
                    <a:pt x="169333" y="155769"/>
                    <a:pt x="173167" y="155769"/>
                  </a:cubicBezTo>
                  <a:lnTo>
                    <a:pt x="193615" y="155769"/>
                  </a:lnTo>
                  <a:cubicBezTo>
                    <a:pt x="197449" y="155769"/>
                    <a:pt x="200005" y="158323"/>
                    <a:pt x="200005" y="162153"/>
                  </a:cubicBezTo>
                  <a:lnTo>
                    <a:pt x="200005" y="182582"/>
                  </a:lnTo>
                  <a:close/>
                  <a:moveTo>
                    <a:pt x="200005" y="130233"/>
                  </a:moveTo>
                  <a:cubicBezTo>
                    <a:pt x="200005" y="134064"/>
                    <a:pt x="197449" y="136617"/>
                    <a:pt x="193615" y="136617"/>
                  </a:cubicBezTo>
                  <a:lnTo>
                    <a:pt x="173167" y="136617"/>
                  </a:lnTo>
                  <a:cubicBezTo>
                    <a:pt x="169333" y="136617"/>
                    <a:pt x="166777" y="134064"/>
                    <a:pt x="166777" y="130233"/>
                  </a:cubicBezTo>
                  <a:lnTo>
                    <a:pt x="166777" y="109804"/>
                  </a:lnTo>
                  <a:cubicBezTo>
                    <a:pt x="166777" y="105974"/>
                    <a:pt x="169333" y="103420"/>
                    <a:pt x="173167" y="103420"/>
                  </a:cubicBezTo>
                  <a:lnTo>
                    <a:pt x="193615" y="103420"/>
                  </a:lnTo>
                  <a:cubicBezTo>
                    <a:pt x="197449" y="103420"/>
                    <a:pt x="200005" y="105974"/>
                    <a:pt x="200005" y="109804"/>
                  </a:cubicBezTo>
                  <a:lnTo>
                    <a:pt x="200005" y="130233"/>
                  </a:lnTo>
                  <a:close/>
                  <a:moveTo>
                    <a:pt x="287547" y="188966"/>
                  </a:moveTo>
                  <a:lnTo>
                    <a:pt x="218536" y="188966"/>
                  </a:lnTo>
                  <a:cubicBezTo>
                    <a:pt x="214702" y="188966"/>
                    <a:pt x="212146" y="186412"/>
                    <a:pt x="212146" y="182582"/>
                  </a:cubicBezTo>
                  <a:cubicBezTo>
                    <a:pt x="212146" y="178752"/>
                    <a:pt x="214702" y="176198"/>
                    <a:pt x="218536" y="176198"/>
                  </a:cubicBezTo>
                  <a:lnTo>
                    <a:pt x="287547" y="176198"/>
                  </a:lnTo>
                  <a:cubicBezTo>
                    <a:pt x="291381" y="176198"/>
                    <a:pt x="293937" y="178752"/>
                    <a:pt x="293937" y="182582"/>
                  </a:cubicBezTo>
                  <a:cubicBezTo>
                    <a:pt x="293937" y="186412"/>
                    <a:pt x="290742" y="188966"/>
                    <a:pt x="287547" y="188966"/>
                  </a:cubicBezTo>
                  <a:close/>
                  <a:moveTo>
                    <a:pt x="287547" y="169176"/>
                  </a:moveTo>
                  <a:lnTo>
                    <a:pt x="218536" y="169176"/>
                  </a:lnTo>
                  <a:cubicBezTo>
                    <a:pt x="214702" y="169176"/>
                    <a:pt x="212146" y="166622"/>
                    <a:pt x="212146" y="162792"/>
                  </a:cubicBezTo>
                  <a:cubicBezTo>
                    <a:pt x="212146" y="158961"/>
                    <a:pt x="214702" y="156408"/>
                    <a:pt x="218536" y="156408"/>
                  </a:cubicBezTo>
                  <a:lnTo>
                    <a:pt x="287547" y="156408"/>
                  </a:lnTo>
                  <a:cubicBezTo>
                    <a:pt x="291381" y="156408"/>
                    <a:pt x="293937" y="158961"/>
                    <a:pt x="293937" y="162792"/>
                  </a:cubicBezTo>
                  <a:cubicBezTo>
                    <a:pt x="293937" y="166622"/>
                    <a:pt x="290742" y="169176"/>
                    <a:pt x="287547" y="169176"/>
                  </a:cubicBezTo>
                  <a:close/>
                  <a:moveTo>
                    <a:pt x="287547" y="136617"/>
                  </a:moveTo>
                  <a:lnTo>
                    <a:pt x="218536" y="136617"/>
                  </a:lnTo>
                  <a:cubicBezTo>
                    <a:pt x="214702" y="136617"/>
                    <a:pt x="212146" y="134064"/>
                    <a:pt x="212146" y="130233"/>
                  </a:cubicBezTo>
                  <a:cubicBezTo>
                    <a:pt x="212146" y="126403"/>
                    <a:pt x="214702" y="123849"/>
                    <a:pt x="218536" y="123849"/>
                  </a:cubicBezTo>
                  <a:lnTo>
                    <a:pt x="287547" y="123849"/>
                  </a:lnTo>
                  <a:cubicBezTo>
                    <a:pt x="291381" y="123849"/>
                    <a:pt x="293937" y="126403"/>
                    <a:pt x="293937" y="130233"/>
                  </a:cubicBezTo>
                  <a:cubicBezTo>
                    <a:pt x="293937" y="134064"/>
                    <a:pt x="290742" y="136617"/>
                    <a:pt x="287547" y="136617"/>
                  </a:cubicBezTo>
                  <a:close/>
                  <a:moveTo>
                    <a:pt x="287547" y="116188"/>
                  </a:moveTo>
                  <a:lnTo>
                    <a:pt x="218536" y="116188"/>
                  </a:lnTo>
                  <a:cubicBezTo>
                    <a:pt x="214702" y="116188"/>
                    <a:pt x="212146" y="113635"/>
                    <a:pt x="212146" y="109804"/>
                  </a:cubicBezTo>
                  <a:cubicBezTo>
                    <a:pt x="212146" y="105974"/>
                    <a:pt x="214702" y="103420"/>
                    <a:pt x="218536" y="103420"/>
                  </a:cubicBezTo>
                  <a:lnTo>
                    <a:pt x="287547" y="103420"/>
                  </a:lnTo>
                  <a:cubicBezTo>
                    <a:pt x="291381" y="103420"/>
                    <a:pt x="293937" y="105974"/>
                    <a:pt x="293937" y="109804"/>
                  </a:cubicBezTo>
                  <a:cubicBezTo>
                    <a:pt x="293937" y="113635"/>
                    <a:pt x="290742" y="116188"/>
                    <a:pt x="287547" y="1161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Graphic 4">
              <a:extLst>
                <a:ext uri="{FF2B5EF4-FFF2-40B4-BE49-F238E27FC236}">
                  <a16:creationId xmlns:a16="http://schemas.microsoft.com/office/drawing/2014/main" xmlns="" id="{84470891-7E6D-9F47-A08F-EA0B5E273CE8}"/>
                </a:ext>
              </a:extLst>
            </p:cNvPr>
            <p:cNvSpPr/>
            <p:nvPr/>
          </p:nvSpPr>
          <p:spPr>
            <a:xfrm>
              <a:off x="7372070" y="1034367"/>
              <a:ext cx="7667" cy="7660"/>
            </a:xfrm>
            <a:custGeom>
              <a:avLst/>
              <a:gdLst>
                <a:gd name="connsiteX0" fmla="*/ 0 w 7667"/>
                <a:gd name="connsiteY0" fmla="*/ 0 h 7660"/>
                <a:gd name="connsiteX1" fmla="*/ 7667 w 7667"/>
                <a:gd name="connsiteY1" fmla="*/ 0 h 7660"/>
                <a:gd name="connsiteX2" fmla="*/ 7667 w 7667"/>
                <a:gd name="connsiteY2" fmla="*/ 7661 h 7660"/>
                <a:gd name="connsiteX3" fmla="*/ 0 w 7667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67" h="7660">
                  <a:moveTo>
                    <a:pt x="0" y="0"/>
                  </a:moveTo>
                  <a:lnTo>
                    <a:pt x="7667" y="0"/>
                  </a:lnTo>
                  <a:lnTo>
                    <a:pt x="7667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5532079" y="3632395"/>
            <a:ext cx="540000" cy="540000"/>
            <a:chOff x="5862351" y="2644754"/>
            <a:chExt cx="540000" cy="540000"/>
          </a:xfrm>
          <a:solidFill>
            <a:schemeClr val="accent1"/>
          </a:solidFill>
        </p:grpSpPr>
        <p:sp>
          <p:nvSpPr>
            <p:cNvPr id="122" name="Graphic 4">
              <a:extLst>
                <a:ext uri="{FF2B5EF4-FFF2-40B4-BE49-F238E27FC236}">
                  <a16:creationId xmlns:a16="http://schemas.microsoft.com/office/drawing/2014/main" xmlns="" id="{4BCF4C9E-33B0-024C-8622-C536CDF40037}"/>
                </a:ext>
              </a:extLst>
            </p:cNvPr>
            <p:cNvSpPr/>
            <p:nvPr/>
          </p:nvSpPr>
          <p:spPr>
            <a:xfrm>
              <a:off x="6036635" y="2747611"/>
              <a:ext cx="188053" cy="236190"/>
            </a:xfrm>
            <a:custGeom>
              <a:avLst/>
              <a:gdLst>
                <a:gd name="connsiteX0" fmla="*/ 50481 w 126174"/>
                <a:gd name="connsiteY0" fmla="*/ 53626 h 158322"/>
                <a:gd name="connsiteX1" fmla="*/ 40896 w 126174"/>
                <a:gd name="connsiteY1" fmla="*/ 72139 h 158322"/>
                <a:gd name="connsiteX2" fmla="*/ 35145 w 126174"/>
                <a:gd name="connsiteY2" fmla="*/ 75969 h 158322"/>
                <a:gd name="connsiteX3" fmla="*/ 0 w 126174"/>
                <a:gd name="connsiteY3" fmla="*/ 105974 h 158322"/>
                <a:gd name="connsiteX4" fmla="*/ 32589 w 126174"/>
                <a:gd name="connsiteY4" fmla="*/ 121296 h 158322"/>
                <a:gd name="connsiteX5" fmla="*/ 36423 w 126174"/>
                <a:gd name="connsiteY5" fmla="*/ 128318 h 158322"/>
                <a:gd name="connsiteX6" fmla="*/ 46008 w 126174"/>
                <a:gd name="connsiteY6" fmla="*/ 151939 h 158322"/>
                <a:gd name="connsiteX7" fmla="*/ 68372 w 126174"/>
                <a:gd name="connsiteY7" fmla="*/ 144916 h 158322"/>
                <a:gd name="connsiteX8" fmla="*/ 73484 w 126174"/>
                <a:gd name="connsiteY8" fmla="*/ 142363 h 158322"/>
                <a:gd name="connsiteX9" fmla="*/ 76040 w 126174"/>
                <a:gd name="connsiteY9" fmla="*/ 143001 h 158322"/>
                <a:gd name="connsiteX10" fmla="*/ 108629 w 126174"/>
                <a:gd name="connsiteY10" fmla="*/ 158323 h 158322"/>
                <a:gd name="connsiteX11" fmla="*/ 111824 w 126174"/>
                <a:gd name="connsiteY11" fmla="*/ 110443 h 158322"/>
                <a:gd name="connsiteX12" fmla="*/ 111824 w 126174"/>
                <a:gd name="connsiteY12" fmla="*/ 104697 h 158322"/>
                <a:gd name="connsiteX13" fmla="*/ 118214 w 126174"/>
                <a:gd name="connsiteY13" fmla="*/ 0 h 158322"/>
                <a:gd name="connsiteX14" fmla="*/ 53676 w 126174"/>
                <a:gd name="connsiteY14" fmla="*/ 49795 h 158322"/>
                <a:gd name="connsiteX15" fmla="*/ 50481 w 126174"/>
                <a:gd name="connsiteY15" fmla="*/ 53626 h 158322"/>
                <a:gd name="connsiteX16" fmla="*/ 99683 w 126174"/>
                <a:gd name="connsiteY16" fmla="*/ 91929 h 158322"/>
                <a:gd name="connsiteX17" fmla="*/ 72206 w 126174"/>
                <a:gd name="connsiteY17" fmla="*/ 119381 h 158322"/>
                <a:gd name="connsiteX18" fmla="*/ 44730 w 126174"/>
                <a:gd name="connsiteY18" fmla="*/ 91929 h 158322"/>
                <a:gd name="connsiteX19" fmla="*/ 72206 w 126174"/>
                <a:gd name="connsiteY19" fmla="*/ 64478 h 158322"/>
                <a:gd name="connsiteX20" fmla="*/ 99683 w 126174"/>
                <a:gd name="connsiteY20" fmla="*/ 91929 h 158322"/>
                <a:gd name="connsiteX21" fmla="*/ 99683 w 126174"/>
                <a:gd name="connsiteY21" fmla="*/ 91929 h 158322"/>
                <a:gd name="connsiteX22" fmla="*/ 99683 w 126174"/>
                <a:gd name="connsiteY22" fmla="*/ 91929 h 15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174" h="158322">
                  <a:moveTo>
                    <a:pt x="50481" y="53626"/>
                  </a:moveTo>
                  <a:cubicBezTo>
                    <a:pt x="46647" y="59371"/>
                    <a:pt x="44091" y="65755"/>
                    <a:pt x="40896" y="72139"/>
                  </a:cubicBezTo>
                  <a:cubicBezTo>
                    <a:pt x="39618" y="74693"/>
                    <a:pt x="37701" y="75969"/>
                    <a:pt x="35145" y="75969"/>
                  </a:cubicBezTo>
                  <a:cubicBezTo>
                    <a:pt x="17892" y="76608"/>
                    <a:pt x="3195" y="88737"/>
                    <a:pt x="0" y="105974"/>
                  </a:cubicBezTo>
                  <a:lnTo>
                    <a:pt x="32589" y="121296"/>
                  </a:lnTo>
                  <a:cubicBezTo>
                    <a:pt x="35145" y="122573"/>
                    <a:pt x="36423" y="125126"/>
                    <a:pt x="36423" y="128318"/>
                  </a:cubicBezTo>
                  <a:cubicBezTo>
                    <a:pt x="36423" y="128318"/>
                    <a:pt x="33867" y="146832"/>
                    <a:pt x="46008" y="151939"/>
                  </a:cubicBezTo>
                  <a:cubicBezTo>
                    <a:pt x="58148" y="157046"/>
                    <a:pt x="68372" y="145555"/>
                    <a:pt x="68372" y="144916"/>
                  </a:cubicBezTo>
                  <a:cubicBezTo>
                    <a:pt x="69650" y="143640"/>
                    <a:pt x="71567" y="142363"/>
                    <a:pt x="73484" y="142363"/>
                  </a:cubicBezTo>
                  <a:cubicBezTo>
                    <a:pt x="74123" y="142363"/>
                    <a:pt x="75401" y="142363"/>
                    <a:pt x="76040" y="143001"/>
                  </a:cubicBezTo>
                  <a:lnTo>
                    <a:pt x="108629" y="158323"/>
                  </a:lnTo>
                  <a:cubicBezTo>
                    <a:pt x="117575" y="143640"/>
                    <a:pt x="118853" y="125765"/>
                    <a:pt x="111824" y="110443"/>
                  </a:cubicBezTo>
                  <a:cubicBezTo>
                    <a:pt x="111185" y="108528"/>
                    <a:pt x="111185" y="106613"/>
                    <a:pt x="111824" y="104697"/>
                  </a:cubicBezTo>
                  <a:cubicBezTo>
                    <a:pt x="111824" y="104059"/>
                    <a:pt x="139301" y="49795"/>
                    <a:pt x="118214" y="0"/>
                  </a:cubicBezTo>
                  <a:cubicBezTo>
                    <a:pt x="106712" y="2554"/>
                    <a:pt x="77318" y="12130"/>
                    <a:pt x="53676" y="49795"/>
                  </a:cubicBezTo>
                  <a:cubicBezTo>
                    <a:pt x="52398" y="51710"/>
                    <a:pt x="51759" y="52987"/>
                    <a:pt x="50481" y="53626"/>
                  </a:cubicBezTo>
                  <a:close/>
                  <a:moveTo>
                    <a:pt x="99683" y="91929"/>
                  </a:moveTo>
                  <a:cubicBezTo>
                    <a:pt x="99683" y="107251"/>
                    <a:pt x="87542" y="119381"/>
                    <a:pt x="72206" y="119381"/>
                  </a:cubicBezTo>
                  <a:cubicBezTo>
                    <a:pt x="56871" y="119381"/>
                    <a:pt x="44730" y="107251"/>
                    <a:pt x="44730" y="91929"/>
                  </a:cubicBezTo>
                  <a:cubicBezTo>
                    <a:pt x="44730" y="76608"/>
                    <a:pt x="56871" y="64478"/>
                    <a:pt x="72206" y="64478"/>
                  </a:cubicBezTo>
                  <a:cubicBezTo>
                    <a:pt x="87542" y="65117"/>
                    <a:pt x="99683" y="77246"/>
                    <a:pt x="99683" y="91929"/>
                  </a:cubicBezTo>
                  <a:cubicBezTo>
                    <a:pt x="99683" y="92568"/>
                    <a:pt x="99683" y="92568"/>
                    <a:pt x="99683" y="91929"/>
                  </a:cubicBezTo>
                  <a:lnTo>
                    <a:pt x="99683" y="919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Graphic 4">
              <a:extLst>
                <a:ext uri="{FF2B5EF4-FFF2-40B4-BE49-F238E27FC236}">
                  <a16:creationId xmlns:a16="http://schemas.microsoft.com/office/drawing/2014/main" xmlns="" id="{10BA57C3-986D-5645-8E87-E57C9E2C0B6E}"/>
                </a:ext>
              </a:extLst>
            </p:cNvPr>
            <p:cNvSpPr/>
            <p:nvPr/>
          </p:nvSpPr>
          <p:spPr>
            <a:xfrm>
              <a:off x="5998540" y="2830469"/>
              <a:ext cx="269521" cy="188571"/>
            </a:xfrm>
            <a:custGeom>
              <a:avLst/>
              <a:gdLst>
                <a:gd name="connsiteX0" fmla="*/ 180835 w 180835"/>
                <a:gd name="connsiteY0" fmla="*/ 5746 h 126402"/>
                <a:gd name="connsiteX1" fmla="*/ 175084 w 180835"/>
                <a:gd name="connsiteY1" fmla="*/ 0 h 126402"/>
                <a:gd name="connsiteX2" fmla="*/ 175084 w 180835"/>
                <a:gd name="connsiteY2" fmla="*/ 0 h 126402"/>
                <a:gd name="connsiteX3" fmla="*/ 163582 w 180835"/>
                <a:gd name="connsiteY3" fmla="*/ 0 h 126402"/>
                <a:gd name="connsiteX4" fmla="*/ 149525 w 180835"/>
                <a:gd name="connsiteY4" fmla="*/ 52987 h 126402"/>
                <a:gd name="connsiteX5" fmla="*/ 140579 w 180835"/>
                <a:gd name="connsiteY5" fmla="*/ 115550 h 126402"/>
                <a:gd name="connsiteX6" fmla="*/ 135467 w 180835"/>
                <a:gd name="connsiteY6" fmla="*/ 118104 h 126402"/>
                <a:gd name="connsiteX7" fmla="*/ 132911 w 180835"/>
                <a:gd name="connsiteY7" fmla="*/ 117465 h 126402"/>
                <a:gd name="connsiteX8" fmla="*/ 99044 w 180835"/>
                <a:gd name="connsiteY8" fmla="*/ 101505 h 126402"/>
                <a:gd name="connsiteX9" fmla="*/ 65177 w 180835"/>
                <a:gd name="connsiteY9" fmla="*/ 108528 h 126402"/>
                <a:gd name="connsiteX10" fmla="*/ 47925 w 180835"/>
                <a:gd name="connsiteY10" fmla="*/ 75969 h 126402"/>
                <a:gd name="connsiteX11" fmla="*/ 14697 w 180835"/>
                <a:gd name="connsiteY11" fmla="*/ 60009 h 126402"/>
                <a:gd name="connsiteX12" fmla="*/ 11502 w 180835"/>
                <a:gd name="connsiteY12" fmla="*/ 52987 h 126402"/>
                <a:gd name="connsiteX13" fmla="*/ 56232 w 180835"/>
                <a:gd name="connsiteY13" fmla="*/ 8299 h 126402"/>
                <a:gd name="connsiteX14" fmla="*/ 60066 w 180835"/>
                <a:gd name="connsiteY14" fmla="*/ 0 h 126402"/>
                <a:gd name="connsiteX15" fmla="*/ 5751 w 180835"/>
                <a:gd name="connsiteY15" fmla="*/ 0 h 126402"/>
                <a:gd name="connsiteX16" fmla="*/ 0 w 180835"/>
                <a:gd name="connsiteY16" fmla="*/ 5746 h 126402"/>
                <a:gd name="connsiteX17" fmla="*/ 0 w 180835"/>
                <a:gd name="connsiteY17" fmla="*/ 5746 h 126402"/>
                <a:gd name="connsiteX18" fmla="*/ 0 w 180835"/>
                <a:gd name="connsiteY18" fmla="*/ 126403 h 126402"/>
                <a:gd name="connsiteX19" fmla="*/ 180835 w 180835"/>
                <a:gd name="connsiteY19" fmla="*/ 126403 h 126402"/>
                <a:gd name="connsiteX20" fmla="*/ 180835 w 180835"/>
                <a:gd name="connsiteY20" fmla="*/ 5746 h 12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0835" h="126402">
                  <a:moveTo>
                    <a:pt x="180835" y="5746"/>
                  </a:moveTo>
                  <a:cubicBezTo>
                    <a:pt x="180835" y="2554"/>
                    <a:pt x="178279" y="0"/>
                    <a:pt x="175084" y="0"/>
                  </a:cubicBezTo>
                  <a:lnTo>
                    <a:pt x="175084" y="0"/>
                  </a:lnTo>
                  <a:lnTo>
                    <a:pt x="163582" y="0"/>
                  </a:lnTo>
                  <a:cubicBezTo>
                    <a:pt x="161666" y="18514"/>
                    <a:pt x="157192" y="36389"/>
                    <a:pt x="149525" y="52987"/>
                  </a:cubicBezTo>
                  <a:cubicBezTo>
                    <a:pt x="157832" y="74054"/>
                    <a:pt x="154637" y="97675"/>
                    <a:pt x="140579" y="115550"/>
                  </a:cubicBezTo>
                  <a:cubicBezTo>
                    <a:pt x="139301" y="116827"/>
                    <a:pt x="137384" y="118104"/>
                    <a:pt x="135467" y="118104"/>
                  </a:cubicBezTo>
                  <a:cubicBezTo>
                    <a:pt x="134828" y="118104"/>
                    <a:pt x="133550" y="118104"/>
                    <a:pt x="132911" y="117465"/>
                  </a:cubicBezTo>
                  <a:lnTo>
                    <a:pt x="99044" y="101505"/>
                  </a:lnTo>
                  <a:cubicBezTo>
                    <a:pt x="90098" y="110443"/>
                    <a:pt x="76679" y="112996"/>
                    <a:pt x="65177" y="108528"/>
                  </a:cubicBezTo>
                  <a:cubicBezTo>
                    <a:pt x="49203" y="100867"/>
                    <a:pt x="47286" y="84269"/>
                    <a:pt x="47925" y="75969"/>
                  </a:cubicBezTo>
                  <a:lnTo>
                    <a:pt x="14697" y="60009"/>
                  </a:lnTo>
                  <a:cubicBezTo>
                    <a:pt x="12141" y="58733"/>
                    <a:pt x="10863" y="56179"/>
                    <a:pt x="11502" y="52987"/>
                  </a:cubicBezTo>
                  <a:cubicBezTo>
                    <a:pt x="17892" y="20429"/>
                    <a:pt x="41535" y="9576"/>
                    <a:pt x="56232" y="8299"/>
                  </a:cubicBezTo>
                  <a:cubicBezTo>
                    <a:pt x="57509" y="5746"/>
                    <a:pt x="58788" y="2554"/>
                    <a:pt x="60066" y="0"/>
                  </a:cubicBezTo>
                  <a:lnTo>
                    <a:pt x="5751" y="0"/>
                  </a:lnTo>
                  <a:cubicBezTo>
                    <a:pt x="2556" y="0"/>
                    <a:pt x="0" y="2554"/>
                    <a:pt x="0" y="5746"/>
                  </a:cubicBezTo>
                  <a:lnTo>
                    <a:pt x="0" y="5746"/>
                  </a:lnTo>
                  <a:lnTo>
                    <a:pt x="0" y="126403"/>
                  </a:lnTo>
                  <a:lnTo>
                    <a:pt x="180835" y="126403"/>
                  </a:lnTo>
                  <a:lnTo>
                    <a:pt x="180835" y="574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Graphic 4">
              <a:extLst>
                <a:ext uri="{FF2B5EF4-FFF2-40B4-BE49-F238E27FC236}">
                  <a16:creationId xmlns:a16="http://schemas.microsoft.com/office/drawing/2014/main" xmlns="" id="{21541420-1EAB-7E4E-AA34-FD9BD0F81D52}"/>
                </a:ext>
              </a:extLst>
            </p:cNvPr>
            <p:cNvSpPr/>
            <p:nvPr/>
          </p:nvSpPr>
          <p:spPr>
            <a:xfrm>
              <a:off x="6122348" y="2863803"/>
              <a:ext cx="43808" cy="43809"/>
            </a:xfrm>
            <a:custGeom>
              <a:avLst/>
              <a:gdLst>
                <a:gd name="connsiteX0" fmla="*/ 14697 w 29393"/>
                <a:gd name="connsiteY0" fmla="*/ 29366 h 29366"/>
                <a:gd name="connsiteX1" fmla="*/ 29394 w 29393"/>
                <a:gd name="connsiteY1" fmla="*/ 14683 h 29366"/>
                <a:gd name="connsiteX2" fmla="*/ 14697 w 29393"/>
                <a:gd name="connsiteY2" fmla="*/ 0 h 29366"/>
                <a:gd name="connsiteX3" fmla="*/ 0 w 29393"/>
                <a:gd name="connsiteY3" fmla="*/ 14683 h 29366"/>
                <a:gd name="connsiteX4" fmla="*/ 14697 w 29393"/>
                <a:gd name="connsiteY4" fmla="*/ 29366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93" h="29366">
                  <a:moveTo>
                    <a:pt x="14697" y="29366"/>
                  </a:moveTo>
                  <a:cubicBezTo>
                    <a:pt x="23004" y="29366"/>
                    <a:pt x="29394" y="22982"/>
                    <a:pt x="29394" y="14683"/>
                  </a:cubicBezTo>
                  <a:cubicBezTo>
                    <a:pt x="29394" y="6384"/>
                    <a:pt x="23004" y="0"/>
                    <a:pt x="14697" y="0"/>
                  </a:cubicBezTo>
                  <a:cubicBezTo>
                    <a:pt x="6390" y="0"/>
                    <a:pt x="0" y="6384"/>
                    <a:pt x="0" y="14683"/>
                  </a:cubicBezTo>
                  <a:cubicBezTo>
                    <a:pt x="0" y="22982"/>
                    <a:pt x="6390" y="29366"/>
                    <a:pt x="14697" y="2936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Graphic 4">
              <a:extLst>
                <a:ext uri="{FF2B5EF4-FFF2-40B4-BE49-F238E27FC236}">
                  <a16:creationId xmlns:a16="http://schemas.microsoft.com/office/drawing/2014/main" xmlns="" id="{F31A341F-D1D0-EE4E-8B0D-BCEFB70439CD}"/>
                </a:ext>
              </a:extLst>
            </p:cNvPr>
            <p:cNvSpPr/>
            <p:nvPr/>
          </p:nvSpPr>
          <p:spPr>
            <a:xfrm>
              <a:off x="5983303" y="3038087"/>
              <a:ext cx="299997" cy="4760"/>
            </a:xfrm>
            <a:custGeom>
              <a:avLst/>
              <a:gdLst>
                <a:gd name="connsiteX0" fmla="*/ 3834 w 201283"/>
                <a:gd name="connsiteY0" fmla="*/ 0 h 3191"/>
                <a:gd name="connsiteX1" fmla="*/ 0 w 201283"/>
                <a:gd name="connsiteY1" fmla="*/ 0 h 3191"/>
                <a:gd name="connsiteX2" fmla="*/ 7029 w 201283"/>
                <a:gd name="connsiteY2" fmla="*/ 3192 h 3191"/>
                <a:gd name="connsiteX3" fmla="*/ 194254 w 201283"/>
                <a:gd name="connsiteY3" fmla="*/ 3192 h 3191"/>
                <a:gd name="connsiteX4" fmla="*/ 201283 w 201283"/>
                <a:gd name="connsiteY4" fmla="*/ 0 h 3191"/>
                <a:gd name="connsiteX5" fmla="*/ 3834 w 201283"/>
                <a:gd name="connsiteY5" fmla="*/ 0 h 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283" h="3191">
                  <a:moveTo>
                    <a:pt x="3834" y="0"/>
                  </a:moveTo>
                  <a:lnTo>
                    <a:pt x="0" y="0"/>
                  </a:lnTo>
                  <a:cubicBezTo>
                    <a:pt x="1917" y="1915"/>
                    <a:pt x="4473" y="3192"/>
                    <a:pt x="7029" y="3192"/>
                  </a:cubicBezTo>
                  <a:lnTo>
                    <a:pt x="194254" y="3192"/>
                  </a:lnTo>
                  <a:cubicBezTo>
                    <a:pt x="196810" y="3192"/>
                    <a:pt x="199366" y="1915"/>
                    <a:pt x="201283" y="0"/>
                  </a:cubicBezTo>
                  <a:lnTo>
                    <a:pt x="3834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Graphic 4">
              <a:extLst>
                <a:ext uri="{FF2B5EF4-FFF2-40B4-BE49-F238E27FC236}">
                  <a16:creationId xmlns:a16="http://schemas.microsoft.com/office/drawing/2014/main" xmlns="" id="{6F079247-3720-6843-BDBA-747072E39497}"/>
                </a:ext>
              </a:extLst>
            </p:cNvPr>
            <p:cNvSpPr/>
            <p:nvPr/>
          </p:nvSpPr>
          <p:spPr>
            <a:xfrm>
              <a:off x="5862351" y="2644754"/>
              <a:ext cx="540000" cy="540000"/>
            </a:xfrm>
            <a:custGeom>
              <a:avLst/>
              <a:gdLst>
                <a:gd name="connsiteX0" fmla="*/ 181474 w 362313"/>
                <a:gd name="connsiteY0" fmla="*/ 0 h 361971"/>
                <a:gd name="connsiteX1" fmla="*/ 0 w 362313"/>
                <a:gd name="connsiteY1" fmla="*/ 180667 h 361971"/>
                <a:gd name="connsiteX2" fmla="*/ 180835 w 362313"/>
                <a:gd name="connsiteY2" fmla="*/ 361972 h 361971"/>
                <a:gd name="connsiteX3" fmla="*/ 362310 w 362313"/>
                <a:gd name="connsiteY3" fmla="*/ 181305 h 361971"/>
                <a:gd name="connsiteX4" fmla="*/ 362310 w 362313"/>
                <a:gd name="connsiteY4" fmla="*/ 181305 h 361971"/>
                <a:gd name="connsiteX5" fmla="*/ 181474 w 362313"/>
                <a:gd name="connsiteY5" fmla="*/ 0 h 361971"/>
                <a:gd name="connsiteX6" fmla="*/ 275406 w 362313"/>
                <a:gd name="connsiteY6" fmla="*/ 279618 h 361971"/>
                <a:gd name="connsiteX7" fmla="*/ 88181 w 362313"/>
                <a:gd name="connsiteY7" fmla="*/ 279618 h 361971"/>
                <a:gd name="connsiteX8" fmla="*/ 65816 w 362313"/>
                <a:gd name="connsiteY8" fmla="*/ 257274 h 361971"/>
                <a:gd name="connsiteX9" fmla="*/ 72206 w 362313"/>
                <a:gd name="connsiteY9" fmla="*/ 250890 h 361971"/>
                <a:gd name="connsiteX10" fmla="*/ 78596 w 362313"/>
                <a:gd name="connsiteY10" fmla="*/ 250890 h 361971"/>
                <a:gd name="connsiteX11" fmla="*/ 78596 w 362313"/>
                <a:gd name="connsiteY11" fmla="*/ 130233 h 361971"/>
                <a:gd name="connsiteX12" fmla="*/ 97127 w 362313"/>
                <a:gd name="connsiteY12" fmla="*/ 111720 h 361971"/>
                <a:gd name="connsiteX13" fmla="*/ 97127 w 362313"/>
                <a:gd name="connsiteY13" fmla="*/ 111720 h 361971"/>
                <a:gd name="connsiteX14" fmla="*/ 159109 w 362313"/>
                <a:gd name="connsiteY14" fmla="*/ 111720 h 361971"/>
                <a:gd name="connsiteX15" fmla="*/ 237067 w 362313"/>
                <a:gd name="connsiteY15" fmla="*/ 56817 h 361971"/>
                <a:gd name="connsiteX16" fmla="*/ 243457 w 362313"/>
                <a:gd name="connsiteY16" fmla="*/ 60648 h 361971"/>
                <a:gd name="connsiteX17" fmla="*/ 254958 w 362313"/>
                <a:gd name="connsiteY17" fmla="*/ 112358 h 361971"/>
                <a:gd name="connsiteX18" fmla="*/ 265821 w 362313"/>
                <a:gd name="connsiteY18" fmla="*/ 112358 h 361971"/>
                <a:gd name="connsiteX19" fmla="*/ 284352 w 362313"/>
                <a:gd name="connsiteY19" fmla="*/ 130872 h 361971"/>
                <a:gd name="connsiteX20" fmla="*/ 284352 w 362313"/>
                <a:gd name="connsiteY20" fmla="*/ 130872 h 361971"/>
                <a:gd name="connsiteX21" fmla="*/ 284352 w 362313"/>
                <a:gd name="connsiteY21" fmla="*/ 251529 h 361971"/>
                <a:gd name="connsiteX22" fmla="*/ 290742 w 362313"/>
                <a:gd name="connsiteY22" fmla="*/ 251529 h 361971"/>
                <a:gd name="connsiteX23" fmla="*/ 297132 w 362313"/>
                <a:gd name="connsiteY23" fmla="*/ 257913 h 361971"/>
                <a:gd name="connsiteX24" fmla="*/ 275406 w 362313"/>
                <a:gd name="connsiteY24" fmla="*/ 279618 h 361971"/>
                <a:gd name="connsiteX25" fmla="*/ 275406 w 362313"/>
                <a:gd name="connsiteY25" fmla="*/ 27961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313" h="361971">
                  <a:moveTo>
                    <a:pt x="181474" y="0"/>
                  </a:moveTo>
                  <a:cubicBezTo>
                    <a:pt x="81152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948" y="80438"/>
                    <a:pt x="281796" y="0"/>
                    <a:pt x="181474" y="0"/>
                  </a:cubicBezTo>
                  <a:close/>
                  <a:moveTo>
                    <a:pt x="275406" y="279618"/>
                  </a:moveTo>
                  <a:lnTo>
                    <a:pt x="88181" y="279618"/>
                  </a:lnTo>
                  <a:cubicBezTo>
                    <a:pt x="76040" y="279618"/>
                    <a:pt x="65816" y="269404"/>
                    <a:pt x="65816" y="257274"/>
                  </a:cubicBezTo>
                  <a:cubicBezTo>
                    <a:pt x="65816" y="253444"/>
                    <a:pt x="68372" y="250890"/>
                    <a:pt x="72206" y="250890"/>
                  </a:cubicBezTo>
                  <a:lnTo>
                    <a:pt x="78596" y="250890"/>
                  </a:lnTo>
                  <a:lnTo>
                    <a:pt x="78596" y="130233"/>
                  </a:lnTo>
                  <a:cubicBezTo>
                    <a:pt x="78596" y="120019"/>
                    <a:pt x="86903" y="111720"/>
                    <a:pt x="97127" y="111720"/>
                  </a:cubicBezTo>
                  <a:lnTo>
                    <a:pt x="97127" y="111720"/>
                  </a:lnTo>
                  <a:lnTo>
                    <a:pt x="159109" y="111720"/>
                  </a:lnTo>
                  <a:cubicBezTo>
                    <a:pt x="191698" y="61286"/>
                    <a:pt x="235150" y="56817"/>
                    <a:pt x="237067" y="56817"/>
                  </a:cubicBezTo>
                  <a:cubicBezTo>
                    <a:pt x="239623" y="56817"/>
                    <a:pt x="242179" y="58094"/>
                    <a:pt x="243457" y="60648"/>
                  </a:cubicBezTo>
                  <a:cubicBezTo>
                    <a:pt x="251124" y="76608"/>
                    <a:pt x="254958" y="94483"/>
                    <a:pt x="254958" y="112358"/>
                  </a:cubicBezTo>
                  <a:lnTo>
                    <a:pt x="265821" y="112358"/>
                  </a:lnTo>
                  <a:cubicBezTo>
                    <a:pt x="276045" y="112358"/>
                    <a:pt x="284352" y="120657"/>
                    <a:pt x="284352" y="130872"/>
                  </a:cubicBezTo>
                  <a:lnTo>
                    <a:pt x="284352" y="130872"/>
                  </a:lnTo>
                  <a:lnTo>
                    <a:pt x="284352" y="251529"/>
                  </a:lnTo>
                  <a:lnTo>
                    <a:pt x="290742" y="251529"/>
                  </a:lnTo>
                  <a:cubicBezTo>
                    <a:pt x="294576" y="251529"/>
                    <a:pt x="297132" y="254082"/>
                    <a:pt x="297132" y="257913"/>
                  </a:cubicBezTo>
                  <a:cubicBezTo>
                    <a:pt x="297771" y="269404"/>
                    <a:pt x="287547" y="278980"/>
                    <a:pt x="275406" y="279618"/>
                  </a:cubicBezTo>
                  <a:lnTo>
                    <a:pt x="275406" y="27961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AAEE7FE-FB70-4E7C-A882-C72F9DA7D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 компании ДРТ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80E3A0A1-978B-495C-9725-B77EFAE4115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ru-RU" smtClean="0"/>
              <a:t>«Деловые Решения и Технологии»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288058" y="1662955"/>
            <a:ext cx="3604265" cy="12618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ru-RU" sz="1400" dirty="0" smtClean="0"/>
              <a:t>Профессиональные знания и опыт около</a:t>
            </a:r>
            <a:r>
              <a:rPr lang="ru-RU" sz="2000" dirty="0" smtClean="0"/>
              <a:t>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b="1" dirty="0" smtClean="0">
                <a:solidFill>
                  <a:schemeClr val="accent1"/>
                </a:solidFill>
              </a:rPr>
              <a:t>2 </a:t>
            </a:r>
            <a:r>
              <a:rPr lang="en-US" sz="2000" b="1" dirty="0" smtClean="0">
                <a:solidFill>
                  <a:schemeClr val="accent1"/>
                </a:solidFill>
              </a:rPr>
              <a:t>0</a:t>
            </a:r>
            <a:r>
              <a:rPr lang="ru-RU" sz="2000" b="1" dirty="0" smtClean="0">
                <a:solidFill>
                  <a:schemeClr val="accent1"/>
                </a:solidFill>
              </a:rPr>
              <a:t>00 сотрудников </a:t>
            </a:r>
            <a:r>
              <a:rPr lang="ru-RU" sz="1400" dirty="0" smtClean="0"/>
              <a:t>позволяют нам оказывать услуги крупнейшим государственным и частным компаниям, работающим в различных отраслях экономики</a:t>
            </a:r>
          </a:p>
        </p:txBody>
      </p:sp>
      <p:grpSp>
        <p:nvGrpSpPr>
          <p:cNvPr id="23" name="Graphic 4">
            <a:extLst>
              <a:ext uri="{FF2B5EF4-FFF2-40B4-BE49-F238E27FC236}">
                <a16:creationId xmlns:a16="http://schemas.microsoft.com/office/drawing/2014/main" xmlns="" id="{74AEA966-877E-2547-95A9-FF2ED6C76320}"/>
              </a:ext>
            </a:extLst>
          </p:cNvPr>
          <p:cNvGrpSpPr/>
          <p:nvPr/>
        </p:nvGrpSpPr>
        <p:grpSpPr>
          <a:xfrm>
            <a:off x="7901397" y="3969131"/>
            <a:ext cx="720000" cy="720000"/>
            <a:chOff x="2560447" y="1885352"/>
            <a:chExt cx="361674" cy="361333"/>
          </a:xfrm>
          <a:solidFill>
            <a:schemeClr val="accent1"/>
          </a:solidFill>
        </p:grpSpPr>
        <p:sp>
          <p:nvSpPr>
            <p:cNvPr id="24" name="Graphic 4">
              <a:extLst>
                <a:ext uri="{FF2B5EF4-FFF2-40B4-BE49-F238E27FC236}">
                  <a16:creationId xmlns:a16="http://schemas.microsoft.com/office/drawing/2014/main" xmlns="" id="{E04D8564-DAB6-714A-9C8E-3C4DC739828B}"/>
                </a:ext>
              </a:extLst>
            </p:cNvPr>
            <p:cNvSpPr/>
            <p:nvPr/>
          </p:nvSpPr>
          <p:spPr>
            <a:xfrm>
              <a:off x="2560447" y="1885352"/>
              <a:ext cx="361674" cy="361333"/>
            </a:xfrm>
            <a:custGeom>
              <a:avLst/>
              <a:gdLst>
                <a:gd name="connsiteX0" fmla="*/ 180835 w 361674"/>
                <a:gd name="connsiteY0" fmla="*/ 0 h 361333"/>
                <a:gd name="connsiteX1" fmla="*/ 0 w 361674"/>
                <a:gd name="connsiteY1" fmla="*/ 180667 h 361333"/>
                <a:gd name="connsiteX2" fmla="*/ 180835 w 361674"/>
                <a:gd name="connsiteY2" fmla="*/ 361333 h 361333"/>
                <a:gd name="connsiteX3" fmla="*/ 361670 w 361674"/>
                <a:gd name="connsiteY3" fmla="*/ 180667 h 361333"/>
                <a:gd name="connsiteX4" fmla="*/ 180835 w 361674"/>
                <a:gd name="connsiteY4" fmla="*/ 0 h 361333"/>
                <a:gd name="connsiteX5" fmla="*/ 180835 w 361674"/>
                <a:gd name="connsiteY5" fmla="*/ 349204 h 361333"/>
                <a:gd name="connsiteX6" fmla="*/ 12780 w 361674"/>
                <a:gd name="connsiteY6" fmla="*/ 181305 h 361333"/>
                <a:gd name="connsiteX7" fmla="*/ 180835 w 361674"/>
                <a:gd name="connsiteY7" fmla="*/ 13406 h 361333"/>
                <a:gd name="connsiteX8" fmla="*/ 348890 w 361674"/>
                <a:gd name="connsiteY8" fmla="*/ 181305 h 361333"/>
                <a:gd name="connsiteX9" fmla="*/ 180835 w 361674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4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2309" y="81076"/>
                    <a:pt x="281157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0" y="88737"/>
                    <a:pt x="348890" y="181305"/>
                  </a:cubicBezTo>
                  <a:cubicBezTo>
                    <a:pt x="348890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Graphic 4">
              <a:extLst>
                <a:ext uri="{FF2B5EF4-FFF2-40B4-BE49-F238E27FC236}">
                  <a16:creationId xmlns:a16="http://schemas.microsoft.com/office/drawing/2014/main" xmlns="" id="{63E71546-016F-2542-B8AA-66F27A70FB21}"/>
                </a:ext>
              </a:extLst>
            </p:cNvPr>
            <p:cNvSpPr/>
            <p:nvPr/>
          </p:nvSpPr>
          <p:spPr>
            <a:xfrm>
              <a:off x="2611966" y="1990688"/>
              <a:ext cx="73324" cy="71500"/>
            </a:xfrm>
            <a:custGeom>
              <a:avLst/>
              <a:gdLst>
                <a:gd name="connsiteX0" fmla="*/ 59027 w 73324"/>
                <a:gd name="connsiteY0" fmla="*/ 70224 h 71500"/>
                <a:gd name="connsiteX1" fmla="*/ 61583 w 73324"/>
                <a:gd name="connsiteY1" fmla="*/ 63840 h 71500"/>
                <a:gd name="connsiteX2" fmla="*/ 58388 w 73324"/>
                <a:gd name="connsiteY2" fmla="*/ 45965 h 71500"/>
                <a:gd name="connsiteX3" fmla="*/ 71168 w 73324"/>
                <a:gd name="connsiteY3" fmla="*/ 33197 h 71500"/>
                <a:gd name="connsiteX4" fmla="*/ 73085 w 73324"/>
                <a:gd name="connsiteY4" fmla="*/ 26813 h 71500"/>
                <a:gd name="connsiteX5" fmla="*/ 67973 w 73324"/>
                <a:gd name="connsiteY5" fmla="*/ 22344 h 71500"/>
                <a:gd name="connsiteX6" fmla="*/ 50081 w 73324"/>
                <a:gd name="connsiteY6" fmla="*/ 19790 h 71500"/>
                <a:gd name="connsiteX7" fmla="*/ 42413 w 73324"/>
                <a:gd name="connsiteY7" fmla="*/ 3830 h 71500"/>
                <a:gd name="connsiteX8" fmla="*/ 36662 w 73324"/>
                <a:gd name="connsiteY8" fmla="*/ 0 h 71500"/>
                <a:gd name="connsiteX9" fmla="*/ 30911 w 73324"/>
                <a:gd name="connsiteY9" fmla="*/ 3830 h 71500"/>
                <a:gd name="connsiteX10" fmla="*/ 23243 w 73324"/>
                <a:gd name="connsiteY10" fmla="*/ 19790 h 71500"/>
                <a:gd name="connsiteX11" fmla="*/ 5352 w 73324"/>
                <a:gd name="connsiteY11" fmla="*/ 22344 h 71500"/>
                <a:gd name="connsiteX12" fmla="*/ 240 w 73324"/>
                <a:gd name="connsiteY12" fmla="*/ 26813 h 71500"/>
                <a:gd name="connsiteX13" fmla="*/ 2157 w 73324"/>
                <a:gd name="connsiteY13" fmla="*/ 33197 h 71500"/>
                <a:gd name="connsiteX14" fmla="*/ 14937 w 73324"/>
                <a:gd name="connsiteY14" fmla="*/ 45965 h 71500"/>
                <a:gd name="connsiteX15" fmla="*/ 11742 w 73324"/>
                <a:gd name="connsiteY15" fmla="*/ 63840 h 71500"/>
                <a:gd name="connsiteX16" fmla="*/ 14297 w 73324"/>
                <a:gd name="connsiteY16" fmla="*/ 70224 h 71500"/>
                <a:gd name="connsiteX17" fmla="*/ 18131 w 73324"/>
                <a:gd name="connsiteY17" fmla="*/ 71500 h 71500"/>
                <a:gd name="connsiteX18" fmla="*/ 21326 w 73324"/>
                <a:gd name="connsiteY18" fmla="*/ 70862 h 71500"/>
                <a:gd name="connsiteX19" fmla="*/ 37301 w 73324"/>
                <a:gd name="connsiteY19" fmla="*/ 62563 h 71500"/>
                <a:gd name="connsiteX20" fmla="*/ 53276 w 73324"/>
                <a:gd name="connsiteY20" fmla="*/ 70862 h 71500"/>
                <a:gd name="connsiteX21" fmla="*/ 59027 w 73324"/>
                <a:gd name="connsiteY21" fmla="*/ 70224 h 71500"/>
                <a:gd name="connsiteX22" fmla="*/ 45608 w 73324"/>
                <a:gd name="connsiteY22" fmla="*/ 44688 h 71500"/>
                <a:gd name="connsiteX23" fmla="*/ 46886 w 73324"/>
                <a:gd name="connsiteY23" fmla="*/ 52987 h 71500"/>
                <a:gd name="connsiteX24" fmla="*/ 39218 w 73324"/>
                <a:gd name="connsiteY24" fmla="*/ 49157 h 71500"/>
                <a:gd name="connsiteX25" fmla="*/ 33467 w 73324"/>
                <a:gd name="connsiteY25" fmla="*/ 49157 h 71500"/>
                <a:gd name="connsiteX26" fmla="*/ 25799 w 73324"/>
                <a:gd name="connsiteY26" fmla="*/ 52987 h 71500"/>
                <a:gd name="connsiteX27" fmla="*/ 27077 w 73324"/>
                <a:gd name="connsiteY27" fmla="*/ 44688 h 71500"/>
                <a:gd name="connsiteX28" fmla="*/ 25160 w 73324"/>
                <a:gd name="connsiteY28" fmla="*/ 38942 h 71500"/>
                <a:gd name="connsiteX29" fmla="*/ 19409 w 73324"/>
                <a:gd name="connsiteY29" fmla="*/ 33197 h 71500"/>
                <a:gd name="connsiteX30" fmla="*/ 27716 w 73324"/>
                <a:gd name="connsiteY30" fmla="*/ 31920 h 71500"/>
                <a:gd name="connsiteX31" fmla="*/ 32828 w 73324"/>
                <a:gd name="connsiteY31" fmla="*/ 28728 h 71500"/>
                <a:gd name="connsiteX32" fmla="*/ 36662 w 73324"/>
                <a:gd name="connsiteY32" fmla="*/ 21067 h 71500"/>
                <a:gd name="connsiteX33" fmla="*/ 40496 w 73324"/>
                <a:gd name="connsiteY33" fmla="*/ 28728 h 71500"/>
                <a:gd name="connsiteX34" fmla="*/ 45608 w 73324"/>
                <a:gd name="connsiteY34" fmla="*/ 31920 h 71500"/>
                <a:gd name="connsiteX35" fmla="*/ 53915 w 73324"/>
                <a:gd name="connsiteY35" fmla="*/ 33197 h 71500"/>
                <a:gd name="connsiteX36" fmla="*/ 48164 w 73324"/>
                <a:gd name="connsiteY36" fmla="*/ 38942 h 71500"/>
                <a:gd name="connsiteX37" fmla="*/ 45608 w 73324"/>
                <a:gd name="connsiteY37" fmla="*/ 44688 h 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24" h="71500">
                  <a:moveTo>
                    <a:pt x="59027" y="70224"/>
                  </a:moveTo>
                  <a:cubicBezTo>
                    <a:pt x="60944" y="68947"/>
                    <a:pt x="62222" y="66393"/>
                    <a:pt x="61583" y="63840"/>
                  </a:cubicBezTo>
                  <a:lnTo>
                    <a:pt x="58388" y="45965"/>
                  </a:lnTo>
                  <a:lnTo>
                    <a:pt x="71168" y="33197"/>
                  </a:lnTo>
                  <a:cubicBezTo>
                    <a:pt x="73085" y="31281"/>
                    <a:pt x="73724" y="28728"/>
                    <a:pt x="73085" y="26813"/>
                  </a:cubicBez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7" y="45965"/>
                  </a:lnTo>
                  <a:lnTo>
                    <a:pt x="11742" y="63840"/>
                  </a:lnTo>
                  <a:cubicBezTo>
                    <a:pt x="11103" y="66393"/>
                    <a:pt x="12381" y="68947"/>
                    <a:pt x="14297" y="70224"/>
                  </a:cubicBezTo>
                  <a:cubicBezTo>
                    <a:pt x="15576" y="70862"/>
                    <a:pt x="16853" y="71500"/>
                    <a:pt x="18131" y="71500"/>
                  </a:cubicBezTo>
                  <a:cubicBezTo>
                    <a:pt x="19409" y="71500"/>
                    <a:pt x="20048" y="71500"/>
                    <a:pt x="21326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4554" y="71500"/>
                    <a:pt x="57110" y="71500"/>
                    <a:pt x="59027" y="70224"/>
                  </a:cubicBezTo>
                  <a:close/>
                  <a:moveTo>
                    <a:pt x="45608" y="44688"/>
                  </a:moveTo>
                  <a:lnTo>
                    <a:pt x="46886" y="52987"/>
                  </a:lnTo>
                  <a:lnTo>
                    <a:pt x="39218" y="49157"/>
                  </a:lnTo>
                  <a:cubicBezTo>
                    <a:pt x="37301" y="47880"/>
                    <a:pt x="35384" y="47880"/>
                    <a:pt x="33467" y="49157"/>
                  </a:cubicBezTo>
                  <a:lnTo>
                    <a:pt x="25799" y="52987"/>
                  </a:lnTo>
                  <a:lnTo>
                    <a:pt x="27077" y="44688"/>
                  </a:lnTo>
                  <a:cubicBezTo>
                    <a:pt x="27716" y="42773"/>
                    <a:pt x="26438" y="40219"/>
                    <a:pt x="25160" y="38942"/>
                  </a:cubicBezTo>
                  <a:lnTo>
                    <a:pt x="19409" y="33197"/>
                  </a:lnTo>
                  <a:lnTo>
                    <a:pt x="27716" y="31920"/>
                  </a:lnTo>
                  <a:cubicBezTo>
                    <a:pt x="29633" y="31920"/>
                    <a:pt x="31550" y="30005"/>
                    <a:pt x="32828" y="28728"/>
                  </a:cubicBezTo>
                  <a:lnTo>
                    <a:pt x="36662" y="21067"/>
                  </a:lnTo>
                  <a:lnTo>
                    <a:pt x="40496" y="28728"/>
                  </a:lnTo>
                  <a:cubicBezTo>
                    <a:pt x="41135" y="30643"/>
                    <a:pt x="43052" y="31920"/>
                    <a:pt x="45608" y="31920"/>
                  </a:cubicBezTo>
                  <a:lnTo>
                    <a:pt x="53915" y="33197"/>
                  </a:lnTo>
                  <a:lnTo>
                    <a:pt x="48164" y="38942"/>
                  </a:lnTo>
                  <a:cubicBezTo>
                    <a:pt x="45608" y="40857"/>
                    <a:pt x="44969" y="42773"/>
                    <a:pt x="45608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Graphic 4">
              <a:extLst>
                <a:ext uri="{FF2B5EF4-FFF2-40B4-BE49-F238E27FC236}">
                  <a16:creationId xmlns:a16="http://schemas.microsoft.com/office/drawing/2014/main" xmlns="" id="{DEA156F2-E1FB-F342-A3F3-0337031BD883}"/>
                </a:ext>
              </a:extLst>
            </p:cNvPr>
            <p:cNvSpPr/>
            <p:nvPr/>
          </p:nvSpPr>
          <p:spPr>
            <a:xfrm>
              <a:off x="2705259" y="1990688"/>
              <a:ext cx="73324" cy="71500"/>
            </a:xfrm>
            <a:custGeom>
              <a:avLst/>
              <a:gdLst>
                <a:gd name="connsiteX0" fmla="*/ 59027 w 73324"/>
                <a:gd name="connsiteY0" fmla="*/ 70224 h 71500"/>
                <a:gd name="connsiteX1" fmla="*/ 61583 w 73324"/>
                <a:gd name="connsiteY1" fmla="*/ 63840 h 71500"/>
                <a:gd name="connsiteX2" fmla="*/ 58388 w 73324"/>
                <a:gd name="connsiteY2" fmla="*/ 45965 h 71500"/>
                <a:gd name="connsiteX3" fmla="*/ 71168 w 73324"/>
                <a:gd name="connsiteY3" fmla="*/ 33197 h 71500"/>
                <a:gd name="connsiteX4" fmla="*/ 73085 w 73324"/>
                <a:gd name="connsiteY4" fmla="*/ 26813 h 71500"/>
                <a:gd name="connsiteX5" fmla="*/ 67973 w 73324"/>
                <a:gd name="connsiteY5" fmla="*/ 22344 h 71500"/>
                <a:gd name="connsiteX6" fmla="*/ 50081 w 73324"/>
                <a:gd name="connsiteY6" fmla="*/ 19790 h 71500"/>
                <a:gd name="connsiteX7" fmla="*/ 42413 w 73324"/>
                <a:gd name="connsiteY7" fmla="*/ 3830 h 71500"/>
                <a:gd name="connsiteX8" fmla="*/ 36662 w 73324"/>
                <a:gd name="connsiteY8" fmla="*/ 0 h 71500"/>
                <a:gd name="connsiteX9" fmla="*/ 30911 w 73324"/>
                <a:gd name="connsiteY9" fmla="*/ 3830 h 71500"/>
                <a:gd name="connsiteX10" fmla="*/ 23243 w 73324"/>
                <a:gd name="connsiteY10" fmla="*/ 19790 h 71500"/>
                <a:gd name="connsiteX11" fmla="*/ 5352 w 73324"/>
                <a:gd name="connsiteY11" fmla="*/ 22344 h 71500"/>
                <a:gd name="connsiteX12" fmla="*/ 240 w 73324"/>
                <a:gd name="connsiteY12" fmla="*/ 26813 h 71500"/>
                <a:gd name="connsiteX13" fmla="*/ 2157 w 73324"/>
                <a:gd name="connsiteY13" fmla="*/ 33197 h 71500"/>
                <a:gd name="connsiteX14" fmla="*/ 14937 w 73324"/>
                <a:gd name="connsiteY14" fmla="*/ 45965 h 71500"/>
                <a:gd name="connsiteX15" fmla="*/ 11742 w 73324"/>
                <a:gd name="connsiteY15" fmla="*/ 63840 h 71500"/>
                <a:gd name="connsiteX16" fmla="*/ 14298 w 73324"/>
                <a:gd name="connsiteY16" fmla="*/ 70224 h 71500"/>
                <a:gd name="connsiteX17" fmla="*/ 18132 w 73324"/>
                <a:gd name="connsiteY17" fmla="*/ 71500 h 71500"/>
                <a:gd name="connsiteX18" fmla="*/ 21327 w 73324"/>
                <a:gd name="connsiteY18" fmla="*/ 70862 h 71500"/>
                <a:gd name="connsiteX19" fmla="*/ 37301 w 73324"/>
                <a:gd name="connsiteY19" fmla="*/ 62563 h 71500"/>
                <a:gd name="connsiteX20" fmla="*/ 53276 w 73324"/>
                <a:gd name="connsiteY20" fmla="*/ 70862 h 71500"/>
                <a:gd name="connsiteX21" fmla="*/ 59027 w 73324"/>
                <a:gd name="connsiteY21" fmla="*/ 70224 h 71500"/>
                <a:gd name="connsiteX22" fmla="*/ 45608 w 73324"/>
                <a:gd name="connsiteY22" fmla="*/ 44688 h 71500"/>
                <a:gd name="connsiteX23" fmla="*/ 46886 w 73324"/>
                <a:gd name="connsiteY23" fmla="*/ 52987 h 71500"/>
                <a:gd name="connsiteX24" fmla="*/ 39218 w 73324"/>
                <a:gd name="connsiteY24" fmla="*/ 49157 h 71500"/>
                <a:gd name="connsiteX25" fmla="*/ 33467 w 73324"/>
                <a:gd name="connsiteY25" fmla="*/ 49157 h 71500"/>
                <a:gd name="connsiteX26" fmla="*/ 25799 w 73324"/>
                <a:gd name="connsiteY26" fmla="*/ 52987 h 71500"/>
                <a:gd name="connsiteX27" fmla="*/ 27077 w 73324"/>
                <a:gd name="connsiteY27" fmla="*/ 44688 h 71500"/>
                <a:gd name="connsiteX28" fmla="*/ 25160 w 73324"/>
                <a:gd name="connsiteY28" fmla="*/ 38942 h 71500"/>
                <a:gd name="connsiteX29" fmla="*/ 19409 w 73324"/>
                <a:gd name="connsiteY29" fmla="*/ 33197 h 71500"/>
                <a:gd name="connsiteX30" fmla="*/ 27716 w 73324"/>
                <a:gd name="connsiteY30" fmla="*/ 31920 h 71500"/>
                <a:gd name="connsiteX31" fmla="*/ 32828 w 73324"/>
                <a:gd name="connsiteY31" fmla="*/ 28728 h 71500"/>
                <a:gd name="connsiteX32" fmla="*/ 36662 w 73324"/>
                <a:gd name="connsiteY32" fmla="*/ 21067 h 71500"/>
                <a:gd name="connsiteX33" fmla="*/ 40496 w 73324"/>
                <a:gd name="connsiteY33" fmla="*/ 28728 h 71500"/>
                <a:gd name="connsiteX34" fmla="*/ 45608 w 73324"/>
                <a:gd name="connsiteY34" fmla="*/ 31920 h 71500"/>
                <a:gd name="connsiteX35" fmla="*/ 53915 w 73324"/>
                <a:gd name="connsiteY35" fmla="*/ 33197 h 71500"/>
                <a:gd name="connsiteX36" fmla="*/ 48164 w 73324"/>
                <a:gd name="connsiteY36" fmla="*/ 38942 h 71500"/>
                <a:gd name="connsiteX37" fmla="*/ 45608 w 73324"/>
                <a:gd name="connsiteY37" fmla="*/ 44688 h 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24" h="71500">
                  <a:moveTo>
                    <a:pt x="59027" y="70224"/>
                  </a:moveTo>
                  <a:cubicBezTo>
                    <a:pt x="60944" y="68947"/>
                    <a:pt x="62222" y="66393"/>
                    <a:pt x="61583" y="63840"/>
                  </a:cubicBezTo>
                  <a:lnTo>
                    <a:pt x="58388" y="45965"/>
                  </a:lnTo>
                  <a:lnTo>
                    <a:pt x="71168" y="33197"/>
                  </a:lnTo>
                  <a:cubicBezTo>
                    <a:pt x="73085" y="31281"/>
                    <a:pt x="73724" y="28728"/>
                    <a:pt x="73085" y="26813"/>
                  </a:cubicBez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7" y="45965"/>
                  </a:lnTo>
                  <a:lnTo>
                    <a:pt x="11742" y="63840"/>
                  </a:lnTo>
                  <a:cubicBezTo>
                    <a:pt x="11103" y="66393"/>
                    <a:pt x="12380" y="68947"/>
                    <a:pt x="14298" y="70224"/>
                  </a:cubicBezTo>
                  <a:cubicBezTo>
                    <a:pt x="15575" y="70862"/>
                    <a:pt x="16854" y="71500"/>
                    <a:pt x="18132" y="71500"/>
                  </a:cubicBezTo>
                  <a:cubicBezTo>
                    <a:pt x="19409" y="71500"/>
                    <a:pt x="20048" y="71500"/>
                    <a:pt x="21327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4554" y="71500"/>
                    <a:pt x="57110" y="71500"/>
                    <a:pt x="59027" y="70224"/>
                  </a:cubicBezTo>
                  <a:close/>
                  <a:moveTo>
                    <a:pt x="45608" y="44688"/>
                  </a:moveTo>
                  <a:lnTo>
                    <a:pt x="46886" y="52987"/>
                  </a:lnTo>
                  <a:lnTo>
                    <a:pt x="39218" y="49157"/>
                  </a:lnTo>
                  <a:cubicBezTo>
                    <a:pt x="37301" y="47880"/>
                    <a:pt x="35384" y="47880"/>
                    <a:pt x="33467" y="49157"/>
                  </a:cubicBezTo>
                  <a:lnTo>
                    <a:pt x="25799" y="52987"/>
                  </a:lnTo>
                  <a:lnTo>
                    <a:pt x="27077" y="44688"/>
                  </a:lnTo>
                  <a:cubicBezTo>
                    <a:pt x="27716" y="42773"/>
                    <a:pt x="26438" y="40219"/>
                    <a:pt x="25160" y="38942"/>
                  </a:cubicBezTo>
                  <a:lnTo>
                    <a:pt x="19409" y="33197"/>
                  </a:lnTo>
                  <a:lnTo>
                    <a:pt x="27716" y="31920"/>
                  </a:lnTo>
                  <a:cubicBezTo>
                    <a:pt x="29633" y="31920"/>
                    <a:pt x="31550" y="30005"/>
                    <a:pt x="32828" y="28728"/>
                  </a:cubicBezTo>
                  <a:lnTo>
                    <a:pt x="36662" y="21067"/>
                  </a:lnTo>
                  <a:lnTo>
                    <a:pt x="40496" y="28728"/>
                  </a:lnTo>
                  <a:cubicBezTo>
                    <a:pt x="41135" y="30643"/>
                    <a:pt x="43052" y="31920"/>
                    <a:pt x="45608" y="31920"/>
                  </a:cubicBezTo>
                  <a:lnTo>
                    <a:pt x="53915" y="33197"/>
                  </a:lnTo>
                  <a:lnTo>
                    <a:pt x="48164" y="38942"/>
                  </a:lnTo>
                  <a:cubicBezTo>
                    <a:pt x="45608" y="40857"/>
                    <a:pt x="44969" y="42773"/>
                    <a:pt x="45608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Graphic 4">
              <a:extLst>
                <a:ext uri="{FF2B5EF4-FFF2-40B4-BE49-F238E27FC236}">
                  <a16:creationId xmlns:a16="http://schemas.microsoft.com/office/drawing/2014/main" xmlns="" id="{5433522E-C5E5-4F4E-941E-3ACA8B1C68D9}"/>
                </a:ext>
              </a:extLst>
            </p:cNvPr>
            <p:cNvSpPr/>
            <p:nvPr/>
          </p:nvSpPr>
          <p:spPr>
            <a:xfrm>
              <a:off x="2798552" y="1990688"/>
              <a:ext cx="73349" cy="71558"/>
            </a:xfrm>
            <a:custGeom>
              <a:avLst/>
              <a:gdLst>
                <a:gd name="connsiteX0" fmla="*/ 73085 w 73349"/>
                <a:gd name="connsiteY0" fmla="*/ 26813 h 71558"/>
                <a:gd name="connsiteX1" fmla="*/ 67973 w 73349"/>
                <a:gd name="connsiteY1" fmla="*/ 22344 h 71558"/>
                <a:gd name="connsiteX2" fmla="*/ 50081 w 73349"/>
                <a:gd name="connsiteY2" fmla="*/ 19790 h 71558"/>
                <a:gd name="connsiteX3" fmla="*/ 42413 w 73349"/>
                <a:gd name="connsiteY3" fmla="*/ 3830 h 71558"/>
                <a:gd name="connsiteX4" fmla="*/ 36662 w 73349"/>
                <a:gd name="connsiteY4" fmla="*/ 0 h 71558"/>
                <a:gd name="connsiteX5" fmla="*/ 30911 w 73349"/>
                <a:gd name="connsiteY5" fmla="*/ 3830 h 71558"/>
                <a:gd name="connsiteX6" fmla="*/ 23243 w 73349"/>
                <a:gd name="connsiteY6" fmla="*/ 19790 h 71558"/>
                <a:gd name="connsiteX7" fmla="*/ 5352 w 73349"/>
                <a:gd name="connsiteY7" fmla="*/ 22344 h 71558"/>
                <a:gd name="connsiteX8" fmla="*/ 240 w 73349"/>
                <a:gd name="connsiteY8" fmla="*/ 26813 h 71558"/>
                <a:gd name="connsiteX9" fmla="*/ 2157 w 73349"/>
                <a:gd name="connsiteY9" fmla="*/ 33197 h 71558"/>
                <a:gd name="connsiteX10" fmla="*/ 14936 w 73349"/>
                <a:gd name="connsiteY10" fmla="*/ 45965 h 71558"/>
                <a:gd name="connsiteX11" fmla="*/ 11741 w 73349"/>
                <a:gd name="connsiteY11" fmla="*/ 63840 h 71558"/>
                <a:gd name="connsiteX12" fmla="*/ 14298 w 73349"/>
                <a:gd name="connsiteY12" fmla="*/ 70224 h 71558"/>
                <a:gd name="connsiteX13" fmla="*/ 18131 w 73349"/>
                <a:gd name="connsiteY13" fmla="*/ 71500 h 71558"/>
                <a:gd name="connsiteX14" fmla="*/ 21326 w 73349"/>
                <a:gd name="connsiteY14" fmla="*/ 70862 h 71558"/>
                <a:gd name="connsiteX15" fmla="*/ 37301 w 73349"/>
                <a:gd name="connsiteY15" fmla="*/ 62563 h 71558"/>
                <a:gd name="connsiteX16" fmla="*/ 53276 w 73349"/>
                <a:gd name="connsiteY16" fmla="*/ 70862 h 71558"/>
                <a:gd name="connsiteX17" fmla="*/ 60305 w 73349"/>
                <a:gd name="connsiteY17" fmla="*/ 70224 h 71558"/>
                <a:gd name="connsiteX18" fmla="*/ 62861 w 73349"/>
                <a:gd name="connsiteY18" fmla="*/ 63840 h 71558"/>
                <a:gd name="connsiteX19" fmla="*/ 59666 w 73349"/>
                <a:gd name="connsiteY19" fmla="*/ 45965 h 71558"/>
                <a:gd name="connsiteX20" fmla="*/ 72446 w 73349"/>
                <a:gd name="connsiteY20" fmla="*/ 33197 h 71558"/>
                <a:gd name="connsiteX21" fmla="*/ 73085 w 73349"/>
                <a:gd name="connsiteY21" fmla="*/ 26813 h 71558"/>
                <a:gd name="connsiteX22" fmla="*/ 46886 w 73349"/>
                <a:gd name="connsiteY22" fmla="*/ 38942 h 71558"/>
                <a:gd name="connsiteX23" fmla="*/ 44969 w 73349"/>
                <a:gd name="connsiteY23" fmla="*/ 44688 h 71558"/>
                <a:gd name="connsiteX24" fmla="*/ 46247 w 73349"/>
                <a:gd name="connsiteY24" fmla="*/ 52987 h 71558"/>
                <a:gd name="connsiteX25" fmla="*/ 38579 w 73349"/>
                <a:gd name="connsiteY25" fmla="*/ 49157 h 71558"/>
                <a:gd name="connsiteX26" fmla="*/ 32828 w 73349"/>
                <a:gd name="connsiteY26" fmla="*/ 49157 h 71558"/>
                <a:gd name="connsiteX27" fmla="*/ 25160 w 73349"/>
                <a:gd name="connsiteY27" fmla="*/ 52987 h 71558"/>
                <a:gd name="connsiteX28" fmla="*/ 26438 w 73349"/>
                <a:gd name="connsiteY28" fmla="*/ 44688 h 71558"/>
                <a:gd name="connsiteX29" fmla="*/ 24521 w 73349"/>
                <a:gd name="connsiteY29" fmla="*/ 38942 h 71558"/>
                <a:gd name="connsiteX30" fmla="*/ 18770 w 73349"/>
                <a:gd name="connsiteY30" fmla="*/ 33197 h 71558"/>
                <a:gd name="connsiteX31" fmla="*/ 27077 w 73349"/>
                <a:gd name="connsiteY31" fmla="*/ 31920 h 71558"/>
                <a:gd name="connsiteX32" fmla="*/ 32189 w 73349"/>
                <a:gd name="connsiteY32" fmla="*/ 28728 h 71558"/>
                <a:gd name="connsiteX33" fmla="*/ 36023 w 73349"/>
                <a:gd name="connsiteY33" fmla="*/ 21067 h 71558"/>
                <a:gd name="connsiteX34" fmla="*/ 39857 w 73349"/>
                <a:gd name="connsiteY34" fmla="*/ 28728 h 71558"/>
                <a:gd name="connsiteX35" fmla="*/ 44969 w 73349"/>
                <a:gd name="connsiteY35" fmla="*/ 31920 h 71558"/>
                <a:gd name="connsiteX36" fmla="*/ 53276 w 73349"/>
                <a:gd name="connsiteY36" fmla="*/ 33197 h 71558"/>
                <a:gd name="connsiteX37" fmla="*/ 46886 w 73349"/>
                <a:gd name="connsiteY37" fmla="*/ 38942 h 7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3349" h="71558">
                  <a:moveTo>
                    <a:pt x="73085" y="26813"/>
                  </a:moveTo>
                  <a:cubicBezTo>
                    <a:pt x="72446" y="24259"/>
                    <a:pt x="70529" y="22982"/>
                    <a:pt x="67973" y="22344"/>
                  </a:cubicBezTo>
                  <a:lnTo>
                    <a:pt x="50081" y="19790"/>
                  </a:lnTo>
                  <a:lnTo>
                    <a:pt x="42413" y="3830"/>
                  </a:lnTo>
                  <a:cubicBezTo>
                    <a:pt x="41135" y="1915"/>
                    <a:pt x="39218" y="0"/>
                    <a:pt x="36662" y="0"/>
                  </a:cubicBezTo>
                  <a:cubicBezTo>
                    <a:pt x="34106" y="0"/>
                    <a:pt x="32189" y="1277"/>
                    <a:pt x="30911" y="3830"/>
                  </a:cubicBezTo>
                  <a:lnTo>
                    <a:pt x="23243" y="19790"/>
                  </a:lnTo>
                  <a:lnTo>
                    <a:pt x="5352" y="22344"/>
                  </a:lnTo>
                  <a:cubicBezTo>
                    <a:pt x="2796" y="22982"/>
                    <a:pt x="879" y="24259"/>
                    <a:pt x="240" y="26813"/>
                  </a:cubicBezTo>
                  <a:cubicBezTo>
                    <a:pt x="-399" y="29366"/>
                    <a:pt x="240" y="31920"/>
                    <a:pt x="2157" y="33197"/>
                  </a:cubicBezTo>
                  <a:lnTo>
                    <a:pt x="14936" y="45965"/>
                  </a:lnTo>
                  <a:lnTo>
                    <a:pt x="11741" y="63840"/>
                  </a:lnTo>
                  <a:cubicBezTo>
                    <a:pt x="11103" y="66393"/>
                    <a:pt x="12380" y="68947"/>
                    <a:pt x="14298" y="70224"/>
                  </a:cubicBezTo>
                  <a:cubicBezTo>
                    <a:pt x="15575" y="70862"/>
                    <a:pt x="16854" y="71500"/>
                    <a:pt x="18131" y="71500"/>
                  </a:cubicBezTo>
                  <a:cubicBezTo>
                    <a:pt x="19409" y="71500"/>
                    <a:pt x="20048" y="71500"/>
                    <a:pt x="21326" y="70862"/>
                  </a:cubicBezTo>
                  <a:lnTo>
                    <a:pt x="37301" y="62563"/>
                  </a:lnTo>
                  <a:lnTo>
                    <a:pt x="53276" y="70862"/>
                  </a:lnTo>
                  <a:cubicBezTo>
                    <a:pt x="55193" y="72139"/>
                    <a:pt x="57749" y="71500"/>
                    <a:pt x="60305" y="70224"/>
                  </a:cubicBezTo>
                  <a:cubicBezTo>
                    <a:pt x="62222" y="68947"/>
                    <a:pt x="63500" y="66393"/>
                    <a:pt x="62861" y="63840"/>
                  </a:cubicBezTo>
                  <a:lnTo>
                    <a:pt x="59666" y="45965"/>
                  </a:lnTo>
                  <a:lnTo>
                    <a:pt x="72446" y="33197"/>
                  </a:lnTo>
                  <a:cubicBezTo>
                    <a:pt x="73085" y="31920"/>
                    <a:pt x="73724" y="29366"/>
                    <a:pt x="73085" y="26813"/>
                  </a:cubicBezTo>
                  <a:close/>
                  <a:moveTo>
                    <a:pt x="46886" y="38942"/>
                  </a:moveTo>
                  <a:cubicBezTo>
                    <a:pt x="45608" y="40219"/>
                    <a:pt x="44969" y="42773"/>
                    <a:pt x="44969" y="44688"/>
                  </a:cubicBezTo>
                  <a:lnTo>
                    <a:pt x="46247" y="52987"/>
                  </a:lnTo>
                  <a:lnTo>
                    <a:pt x="38579" y="49157"/>
                  </a:lnTo>
                  <a:cubicBezTo>
                    <a:pt x="36662" y="47880"/>
                    <a:pt x="34745" y="47880"/>
                    <a:pt x="32828" y="49157"/>
                  </a:cubicBezTo>
                  <a:lnTo>
                    <a:pt x="25160" y="52987"/>
                  </a:lnTo>
                  <a:lnTo>
                    <a:pt x="26438" y="44688"/>
                  </a:lnTo>
                  <a:cubicBezTo>
                    <a:pt x="27077" y="42773"/>
                    <a:pt x="25799" y="40219"/>
                    <a:pt x="24521" y="38942"/>
                  </a:cubicBezTo>
                  <a:lnTo>
                    <a:pt x="18770" y="33197"/>
                  </a:lnTo>
                  <a:lnTo>
                    <a:pt x="27077" y="31920"/>
                  </a:lnTo>
                  <a:cubicBezTo>
                    <a:pt x="28994" y="31920"/>
                    <a:pt x="30911" y="30005"/>
                    <a:pt x="32189" y="28728"/>
                  </a:cubicBezTo>
                  <a:lnTo>
                    <a:pt x="36023" y="21067"/>
                  </a:lnTo>
                  <a:lnTo>
                    <a:pt x="39857" y="28728"/>
                  </a:lnTo>
                  <a:cubicBezTo>
                    <a:pt x="40496" y="30643"/>
                    <a:pt x="42413" y="31920"/>
                    <a:pt x="44969" y="31920"/>
                  </a:cubicBezTo>
                  <a:lnTo>
                    <a:pt x="53276" y="33197"/>
                  </a:lnTo>
                  <a:lnTo>
                    <a:pt x="46886" y="3894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Graphic 4">
              <a:extLst>
                <a:ext uri="{FF2B5EF4-FFF2-40B4-BE49-F238E27FC236}">
                  <a16:creationId xmlns:a16="http://schemas.microsoft.com/office/drawing/2014/main" xmlns="" id="{5AF0E817-9AEE-3A4D-884C-E02A6056EE81}"/>
                </a:ext>
              </a:extLst>
            </p:cNvPr>
            <p:cNvSpPr/>
            <p:nvPr/>
          </p:nvSpPr>
          <p:spPr>
            <a:xfrm>
              <a:off x="2658613" y="2071605"/>
              <a:ext cx="74602" cy="71079"/>
            </a:xfrm>
            <a:custGeom>
              <a:avLst/>
              <a:gdLst>
                <a:gd name="connsiteX0" fmla="*/ 67973 w 74602"/>
                <a:gd name="connsiteY0" fmla="*/ 21865 h 71079"/>
                <a:gd name="connsiteX1" fmla="*/ 50081 w 74602"/>
                <a:gd name="connsiteY1" fmla="*/ 19311 h 71079"/>
                <a:gd name="connsiteX2" fmla="*/ 42413 w 74602"/>
                <a:gd name="connsiteY2" fmla="*/ 3352 h 71079"/>
                <a:gd name="connsiteX3" fmla="*/ 30911 w 74602"/>
                <a:gd name="connsiteY3" fmla="*/ 3352 h 71079"/>
                <a:gd name="connsiteX4" fmla="*/ 23243 w 74602"/>
                <a:gd name="connsiteY4" fmla="*/ 19311 h 71079"/>
                <a:gd name="connsiteX5" fmla="*/ 5352 w 74602"/>
                <a:gd name="connsiteY5" fmla="*/ 21865 h 71079"/>
                <a:gd name="connsiteX6" fmla="*/ 240 w 74602"/>
                <a:gd name="connsiteY6" fmla="*/ 26334 h 71079"/>
                <a:gd name="connsiteX7" fmla="*/ 2157 w 74602"/>
                <a:gd name="connsiteY7" fmla="*/ 32718 h 71079"/>
                <a:gd name="connsiteX8" fmla="*/ 14936 w 74602"/>
                <a:gd name="connsiteY8" fmla="*/ 45486 h 71079"/>
                <a:gd name="connsiteX9" fmla="*/ 11741 w 74602"/>
                <a:gd name="connsiteY9" fmla="*/ 63361 h 71079"/>
                <a:gd name="connsiteX10" fmla="*/ 14297 w 74602"/>
                <a:gd name="connsiteY10" fmla="*/ 69745 h 71079"/>
                <a:gd name="connsiteX11" fmla="*/ 18131 w 74602"/>
                <a:gd name="connsiteY11" fmla="*/ 71022 h 71079"/>
                <a:gd name="connsiteX12" fmla="*/ 21326 w 74602"/>
                <a:gd name="connsiteY12" fmla="*/ 70383 h 71079"/>
                <a:gd name="connsiteX13" fmla="*/ 37301 w 74602"/>
                <a:gd name="connsiteY13" fmla="*/ 62084 h 71079"/>
                <a:gd name="connsiteX14" fmla="*/ 53276 w 74602"/>
                <a:gd name="connsiteY14" fmla="*/ 70383 h 71079"/>
                <a:gd name="connsiteX15" fmla="*/ 60305 w 74602"/>
                <a:gd name="connsiteY15" fmla="*/ 69745 h 71079"/>
                <a:gd name="connsiteX16" fmla="*/ 62861 w 74602"/>
                <a:gd name="connsiteY16" fmla="*/ 63361 h 71079"/>
                <a:gd name="connsiteX17" fmla="*/ 59666 w 74602"/>
                <a:gd name="connsiteY17" fmla="*/ 45486 h 71079"/>
                <a:gd name="connsiteX18" fmla="*/ 72446 w 74602"/>
                <a:gd name="connsiteY18" fmla="*/ 32718 h 71079"/>
                <a:gd name="connsiteX19" fmla="*/ 74363 w 74602"/>
                <a:gd name="connsiteY19" fmla="*/ 26334 h 71079"/>
                <a:gd name="connsiteX20" fmla="*/ 67973 w 74602"/>
                <a:gd name="connsiteY20" fmla="*/ 21865 h 71079"/>
                <a:gd name="connsiteX21" fmla="*/ 47525 w 74602"/>
                <a:gd name="connsiteY21" fmla="*/ 38463 h 71079"/>
                <a:gd name="connsiteX22" fmla="*/ 45608 w 74602"/>
                <a:gd name="connsiteY22" fmla="*/ 44209 h 71079"/>
                <a:gd name="connsiteX23" fmla="*/ 46886 w 74602"/>
                <a:gd name="connsiteY23" fmla="*/ 52508 h 71079"/>
                <a:gd name="connsiteX24" fmla="*/ 39218 w 74602"/>
                <a:gd name="connsiteY24" fmla="*/ 48678 h 71079"/>
                <a:gd name="connsiteX25" fmla="*/ 36023 w 74602"/>
                <a:gd name="connsiteY25" fmla="*/ 48039 h 71079"/>
                <a:gd name="connsiteX26" fmla="*/ 32828 w 74602"/>
                <a:gd name="connsiteY26" fmla="*/ 48678 h 71079"/>
                <a:gd name="connsiteX27" fmla="*/ 25160 w 74602"/>
                <a:gd name="connsiteY27" fmla="*/ 52508 h 71079"/>
                <a:gd name="connsiteX28" fmla="*/ 26438 w 74602"/>
                <a:gd name="connsiteY28" fmla="*/ 44209 h 71079"/>
                <a:gd name="connsiteX29" fmla="*/ 24521 w 74602"/>
                <a:gd name="connsiteY29" fmla="*/ 38463 h 71079"/>
                <a:gd name="connsiteX30" fmla="*/ 18770 w 74602"/>
                <a:gd name="connsiteY30" fmla="*/ 32718 h 71079"/>
                <a:gd name="connsiteX31" fmla="*/ 27077 w 74602"/>
                <a:gd name="connsiteY31" fmla="*/ 31441 h 71079"/>
                <a:gd name="connsiteX32" fmla="*/ 32189 w 74602"/>
                <a:gd name="connsiteY32" fmla="*/ 28249 h 71079"/>
                <a:gd name="connsiteX33" fmla="*/ 36023 w 74602"/>
                <a:gd name="connsiteY33" fmla="*/ 20588 h 71079"/>
                <a:gd name="connsiteX34" fmla="*/ 39857 w 74602"/>
                <a:gd name="connsiteY34" fmla="*/ 28249 h 71079"/>
                <a:gd name="connsiteX35" fmla="*/ 44969 w 74602"/>
                <a:gd name="connsiteY35" fmla="*/ 31441 h 71079"/>
                <a:gd name="connsiteX36" fmla="*/ 53276 w 74602"/>
                <a:gd name="connsiteY36" fmla="*/ 32718 h 71079"/>
                <a:gd name="connsiteX37" fmla="*/ 47525 w 74602"/>
                <a:gd name="connsiteY37" fmla="*/ 38463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4602" h="71079">
                  <a:moveTo>
                    <a:pt x="67973" y="21865"/>
                  </a:moveTo>
                  <a:lnTo>
                    <a:pt x="50081" y="19311"/>
                  </a:lnTo>
                  <a:lnTo>
                    <a:pt x="42413" y="3352"/>
                  </a:lnTo>
                  <a:cubicBezTo>
                    <a:pt x="40496" y="-1117"/>
                    <a:pt x="32828" y="-1117"/>
                    <a:pt x="30911" y="3352"/>
                  </a:cubicBezTo>
                  <a:lnTo>
                    <a:pt x="23243" y="19311"/>
                  </a:lnTo>
                  <a:lnTo>
                    <a:pt x="5352" y="21865"/>
                  </a:lnTo>
                  <a:cubicBezTo>
                    <a:pt x="2796" y="22503"/>
                    <a:pt x="879" y="23780"/>
                    <a:pt x="240" y="26334"/>
                  </a:cubicBezTo>
                  <a:cubicBezTo>
                    <a:pt x="-399" y="28887"/>
                    <a:pt x="240" y="31441"/>
                    <a:pt x="2157" y="32718"/>
                  </a:cubicBezTo>
                  <a:lnTo>
                    <a:pt x="14936" y="45486"/>
                  </a:lnTo>
                  <a:lnTo>
                    <a:pt x="11741" y="63361"/>
                  </a:lnTo>
                  <a:cubicBezTo>
                    <a:pt x="11102" y="65915"/>
                    <a:pt x="12380" y="68468"/>
                    <a:pt x="14297" y="69745"/>
                  </a:cubicBezTo>
                  <a:cubicBezTo>
                    <a:pt x="15575" y="70383"/>
                    <a:pt x="16854" y="71022"/>
                    <a:pt x="18131" y="71022"/>
                  </a:cubicBezTo>
                  <a:cubicBezTo>
                    <a:pt x="19409" y="71022"/>
                    <a:pt x="20048" y="71022"/>
                    <a:pt x="21326" y="70383"/>
                  </a:cubicBezTo>
                  <a:lnTo>
                    <a:pt x="37301" y="62084"/>
                  </a:lnTo>
                  <a:lnTo>
                    <a:pt x="53276" y="70383"/>
                  </a:lnTo>
                  <a:cubicBezTo>
                    <a:pt x="55193" y="71660"/>
                    <a:pt x="57749" y="71022"/>
                    <a:pt x="60305" y="69745"/>
                  </a:cubicBezTo>
                  <a:cubicBezTo>
                    <a:pt x="62222" y="68468"/>
                    <a:pt x="63500" y="65915"/>
                    <a:pt x="62861" y="63361"/>
                  </a:cubicBezTo>
                  <a:lnTo>
                    <a:pt x="59666" y="45486"/>
                  </a:lnTo>
                  <a:lnTo>
                    <a:pt x="72446" y="32718"/>
                  </a:lnTo>
                  <a:cubicBezTo>
                    <a:pt x="74363" y="30803"/>
                    <a:pt x="75002" y="28249"/>
                    <a:pt x="74363" y="26334"/>
                  </a:cubicBezTo>
                  <a:cubicBezTo>
                    <a:pt x="72446" y="23780"/>
                    <a:pt x="70529" y="22503"/>
                    <a:pt x="67973" y="21865"/>
                  </a:cubicBezTo>
                  <a:close/>
                  <a:moveTo>
                    <a:pt x="47525" y="38463"/>
                  </a:moveTo>
                  <a:cubicBezTo>
                    <a:pt x="46247" y="39740"/>
                    <a:pt x="45608" y="42294"/>
                    <a:pt x="45608" y="44209"/>
                  </a:cubicBezTo>
                  <a:lnTo>
                    <a:pt x="46886" y="52508"/>
                  </a:lnTo>
                  <a:lnTo>
                    <a:pt x="39218" y="48678"/>
                  </a:lnTo>
                  <a:cubicBezTo>
                    <a:pt x="38579" y="48039"/>
                    <a:pt x="37301" y="48039"/>
                    <a:pt x="36023" y="48039"/>
                  </a:cubicBezTo>
                  <a:cubicBezTo>
                    <a:pt x="34745" y="48039"/>
                    <a:pt x="34106" y="48039"/>
                    <a:pt x="32828" y="48678"/>
                  </a:cubicBezTo>
                  <a:lnTo>
                    <a:pt x="25160" y="52508"/>
                  </a:lnTo>
                  <a:lnTo>
                    <a:pt x="26438" y="44209"/>
                  </a:lnTo>
                  <a:cubicBezTo>
                    <a:pt x="27077" y="42294"/>
                    <a:pt x="25799" y="39740"/>
                    <a:pt x="24521" y="38463"/>
                  </a:cubicBezTo>
                  <a:lnTo>
                    <a:pt x="18770" y="32718"/>
                  </a:lnTo>
                  <a:lnTo>
                    <a:pt x="27077" y="31441"/>
                  </a:lnTo>
                  <a:cubicBezTo>
                    <a:pt x="28994" y="31441"/>
                    <a:pt x="30911" y="29526"/>
                    <a:pt x="32189" y="28249"/>
                  </a:cubicBezTo>
                  <a:lnTo>
                    <a:pt x="36023" y="20588"/>
                  </a:lnTo>
                  <a:lnTo>
                    <a:pt x="39857" y="28249"/>
                  </a:lnTo>
                  <a:cubicBezTo>
                    <a:pt x="40496" y="30164"/>
                    <a:pt x="42413" y="31441"/>
                    <a:pt x="44969" y="31441"/>
                  </a:cubicBezTo>
                  <a:lnTo>
                    <a:pt x="53276" y="32718"/>
                  </a:lnTo>
                  <a:lnTo>
                    <a:pt x="47525" y="384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Graphic 4">
              <a:extLst>
                <a:ext uri="{FF2B5EF4-FFF2-40B4-BE49-F238E27FC236}">
                  <a16:creationId xmlns:a16="http://schemas.microsoft.com/office/drawing/2014/main" xmlns="" id="{90A4417B-D2EB-1B4A-9A5A-62C849BEA18A}"/>
                </a:ext>
              </a:extLst>
            </p:cNvPr>
            <p:cNvSpPr/>
            <p:nvPr/>
          </p:nvSpPr>
          <p:spPr>
            <a:xfrm>
              <a:off x="2751906" y="2071605"/>
              <a:ext cx="74602" cy="71079"/>
            </a:xfrm>
            <a:custGeom>
              <a:avLst/>
              <a:gdLst>
                <a:gd name="connsiteX0" fmla="*/ 67973 w 74602"/>
                <a:gd name="connsiteY0" fmla="*/ 21865 h 71079"/>
                <a:gd name="connsiteX1" fmla="*/ 50081 w 74602"/>
                <a:gd name="connsiteY1" fmla="*/ 19311 h 71079"/>
                <a:gd name="connsiteX2" fmla="*/ 42413 w 74602"/>
                <a:gd name="connsiteY2" fmla="*/ 3352 h 71079"/>
                <a:gd name="connsiteX3" fmla="*/ 30911 w 74602"/>
                <a:gd name="connsiteY3" fmla="*/ 3352 h 71079"/>
                <a:gd name="connsiteX4" fmla="*/ 23243 w 74602"/>
                <a:gd name="connsiteY4" fmla="*/ 19311 h 71079"/>
                <a:gd name="connsiteX5" fmla="*/ 5352 w 74602"/>
                <a:gd name="connsiteY5" fmla="*/ 21865 h 71079"/>
                <a:gd name="connsiteX6" fmla="*/ 240 w 74602"/>
                <a:gd name="connsiteY6" fmla="*/ 26334 h 71079"/>
                <a:gd name="connsiteX7" fmla="*/ 2157 w 74602"/>
                <a:gd name="connsiteY7" fmla="*/ 32718 h 71079"/>
                <a:gd name="connsiteX8" fmla="*/ 14936 w 74602"/>
                <a:gd name="connsiteY8" fmla="*/ 45486 h 71079"/>
                <a:gd name="connsiteX9" fmla="*/ 11741 w 74602"/>
                <a:gd name="connsiteY9" fmla="*/ 63361 h 71079"/>
                <a:gd name="connsiteX10" fmla="*/ 14297 w 74602"/>
                <a:gd name="connsiteY10" fmla="*/ 69745 h 71079"/>
                <a:gd name="connsiteX11" fmla="*/ 18131 w 74602"/>
                <a:gd name="connsiteY11" fmla="*/ 71022 h 71079"/>
                <a:gd name="connsiteX12" fmla="*/ 21326 w 74602"/>
                <a:gd name="connsiteY12" fmla="*/ 70383 h 71079"/>
                <a:gd name="connsiteX13" fmla="*/ 37301 w 74602"/>
                <a:gd name="connsiteY13" fmla="*/ 62084 h 71079"/>
                <a:gd name="connsiteX14" fmla="*/ 53276 w 74602"/>
                <a:gd name="connsiteY14" fmla="*/ 70383 h 71079"/>
                <a:gd name="connsiteX15" fmla="*/ 60305 w 74602"/>
                <a:gd name="connsiteY15" fmla="*/ 69745 h 71079"/>
                <a:gd name="connsiteX16" fmla="*/ 62861 w 74602"/>
                <a:gd name="connsiteY16" fmla="*/ 63361 h 71079"/>
                <a:gd name="connsiteX17" fmla="*/ 59666 w 74602"/>
                <a:gd name="connsiteY17" fmla="*/ 45486 h 71079"/>
                <a:gd name="connsiteX18" fmla="*/ 72446 w 74602"/>
                <a:gd name="connsiteY18" fmla="*/ 32718 h 71079"/>
                <a:gd name="connsiteX19" fmla="*/ 74363 w 74602"/>
                <a:gd name="connsiteY19" fmla="*/ 26334 h 71079"/>
                <a:gd name="connsiteX20" fmla="*/ 67973 w 74602"/>
                <a:gd name="connsiteY20" fmla="*/ 21865 h 71079"/>
                <a:gd name="connsiteX21" fmla="*/ 46886 w 74602"/>
                <a:gd name="connsiteY21" fmla="*/ 38463 h 71079"/>
                <a:gd name="connsiteX22" fmla="*/ 44969 w 74602"/>
                <a:gd name="connsiteY22" fmla="*/ 44209 h 71079"/>
                <a:gd name="connsiteX23" fmla="*/ 46247 w 74602"/>
                <a:gd name="connsiteY23" fmla="*/ 52508 h 71079"/>
                <a:gd name="connsiteX24" fmla="*/ 38579 w 74602"/>
                <a:gd name="connsiteY24" fmla="*/ 48678 h 71079"/>
                <a:gd name="connsiteX25" fmla="*/ 35384 w 74602"/>
                <a:gd name="connsiteY25" fmla="*/ 48039 h 71079"/>
                <a:gd name="connsiteX26" fmla="*/ 32189 w 74602"/>
                <a:gd name="connsiteY26" fmla="*/ 48678 h 71079"/>
                <a:gd name="connsiteX27" fmla="*/ 24521 w 74602"/>
                <a:gd name="connsiteY27" fmla="*/ 52508 h 71079"/>
                <a:gd name="connsiteX28" fmla="*/ 25799 w 74602"/>
                <a:gd name="connsiteY28" fmla="*/ 44209 h 71079"/>
                <a:gd name="connsiteX29" fmla="*/ 23882 w 74602"/>
                <a:gd name="connsiteY29" fmla="*/ 38463 h 71079"/>
                <a:gd name="connsiteX30" fmla="*/ 18131 w 74602"/>
                <a:gd name="connsiteY30" fmla="*/ 32718 h 71079"/>
                <a:gd name="connsiteX31" fmla="*/ 26438 w 74602"/>
                <a:gd name="connsiteY31" fmla="*/ 31441 h 71079"/>
                <a:gd name="connsiteX32" fmla="*/ 31550 w 74602"/>
                <a:gd name="connsiteY32" fmla="*/ 28249 h 71079"/>
                <a:gd name="connsiteX33" fmla="*/ 35384 w 74602"/>
                <a:gd name="connsiteY33" fmla="*/ 20588 h 71079"/>
                <a:gd name="connsiteX34" fmla="*/ 39218 w 74602"/>
                <a:gd name="connsiteY34" fmla="*/ 28249 h 71079"/>
                <a:gd name="connsiteX35" fmla="*/ 44330 w 74602"/>
                <a:gd name="connsiteY35" fmla="*/ 31441 h 71079"/>
                <a:gd name="connsiteX36" fmla="*/ 52637 w 74602"/>
                <a:gd name="connsiteY36" fmla="*/ 32718 h 71079"/>
                <a:gd name="connsiteX37" fmla="*/ 46886 w 74602"/>
                <a:gd name="connsiteY37" fmla="*/ 38463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74602" h="71079">
                  <a:moveTo>
                    <a:pt x="67973" y="21865"/>
                  </a:moveTo>
                  <a:lnTo>
                    <a:pt x="50081" y="19311"/>
                  </a:lnTo>
                  <a:lnTo>
                    <a:pt x="42413" y="3352"/>
                  </a:lnTo>
                  <a:cubicBezTo>
                    <a:pt x="40496" y="-1117"/>
                    <a:pt x="32828" y="-1117"/>
                    <a:pt x="30911" y="3352"/>
                  </a:cubicBezTo>
                  <a:lnTo>
                    <a:pt x="23243" y="19311"/>
                  </a:lnTo>
                  <a:lnTo>
                    <a:pt x="5352" y="21865"/>
                  </a:lnTo>
                  <a:cubicBezTo>
                    <a:pt x="2796" y="22503"/>
                    <a:pt x="878" y="23780"/>
                    <a:pt x="240" y="26334"/>
                  </a:cubicBezTo>
                  <a:cubicBezTo>
                    <a:pt x="-399" y="28887"/>
                    <a:pt x="240" y="31441"/>
                    <a:pt x="2157" y="32718"/>
                  </a:cubicBezTo>
                  <a:lnTo>
                    <a:pt x="14936" y="45486"/>
                  </a:lnTo>
                  <a:lnTo>
                    <a:pt x="11741" y="63361"/>
                  </a:lnTo>
                  <a:cubicBezTo>
                    <a:pt x="11102" y="65915"/>
                    <a:pt x="12380" y="68468"/>
                    <a:pt x="14297" y="69745"/>
                  </a:cubicBezTo>
                  <a:cubicBezTo>
                    <a:pt x="15575" y="70383"/>
                    <a:pt x="16853" y="71022"/>
                    <a:pt x="18131" y="71022"/>
                  </a:cubicBezTo>
                  <a:cubicBezTo>
                    <a:pt x="19409" y="71022"/>
                    <a:pt x="20048" y="71022"/>
                    <a:pt x="21326" y="70383"/>
                  </a:cubicBezTo>
                  <a:lnTo>
                    <a:pt x="37301" y="62084"/>
                  </a:lnTo>
                  <a:lnTo>
                    <a:pt x="53276" y="70383"/>
                  </a:lnTo>
                  <a:cubicBezTo>
                    <a:pt x="55193" y="71660"/>
                    <a:pt x="57749" y="71022"/>
                    <a:pt x="60305" y="69745"/>
                  </a:cubicBezTo>
                  <a:cubicBezTo>
                    <a:pt x="62222" y="68468"/>
                    <a:pt x="63500" y="65915"/>
                    <a:pt x="62861" y="63361"/>
                  </a:cubicBezTo>
                  <a:lnTo>
                    <a:pt x="59666" y="45486"/>
                  </a:lnTo>
                  <a:lnTo>
                    <a:pt x="72446" y="32718"/>
                  </a:lnTo>
                  <a:cubicBezTo>
                    <a:pt x="74363" y="30803"/>
                    <a:pt x="75002" y="28249"/>
                    <a:pt x="74363" y="26334"/>
                  </a:cubicBezTo>
                  <a:cubicBezTo>
                    <a:pt x="72446" y="23780"/>
                    <a:pt x="69890" y="22503"/>
                    <a:pt x="67973" y="21865"/>
                  </a:cubicBezTo>
                  <a:close/>
                  <a:moveTo>
                    <a:pt x="46886" y="38463"/>
                  </a:moveTo>
                  <a:cubicBezTo>
                    <a:pt x="45608" y="39740"/>
                    <a:pt x="44969" y="42294"/>
                    <a:pt x="44969" y="44209"/>
                  </a:cubicBezTo>
                  <a:lnTo>
                    <a:pt x="46247" y="52508"/>
                  </a:lnTo>
                  <a:lnTo>
                    <a:pt x="38579" y="48678"/>
                  </a:lnTo>
                  <a:cubicBezTo>
                    <a:pt x="37940" y="48039"/>
                    <a:pt x="36662" y="48039"/>
                    <a:pt x="35384" y="48039"/>
                  </a:cubicBezTo>
                  <a:cubicBezTo>
                    <a:pt x="34106" y="48039"/>
                    <a:pt x="33467" y="48039"/>
                    <a:pt x="32189" y="48678"/>
                  </a:cubicBezTo>
                  <a:lnTo>
                    <a:pt x="24521" y="52508"/>
                  </a:lnTo>
                  <a:lnTo>
                    <a:pt x="25799" y="44209"/>
                  </a:lnTo>
                  <a:cubicBezTo>
                    <a:pt x="26438" y="42294"/>
                    <a:pt x="25160" y="39740"/>
                    <a:pt x="23882" y="38463"/>
                  </a:cubicBezTo>
                  <a:lnTo>
                    <a:pt x="18131" y="32718"/>
                  </a:lnTo>
                  <a:lnTo>
                    <a:pt x="26438" y="31441"/>
                  </a:lnTo>
                  <a:cubicBezTo>
                    <a:pt x="28355" y="31441"/>
                    <a:pt x="30272" y="29526"/>
                    <a:pt x="31550" y="28249"/>
                  </a:cubicBezTo>
                  <a:lnTo>
                    <a:pt x="35384" y="20588"/>
                  </a:lnTo>
                  <a:lnTo>
                    <a:pt x="39218" y="28249"/>
                  </a:lnTo>
                  <a:cubicBezTo>
                    <a:pt x="39857" y="30164"/>
                    <a:pt x="41774" y="31441"/>
                    <a:pt x="44330" y="31441"/>
                  </a:cubicBezTo>
                  <a:lnTo>
                    <a:pt x="52637" y="32718"/>
                  </a:lnTo>
                  <a:lnTo>
                    <a:pt x="46886" y="384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0" name="Graphic 4">
            <a:extLst>
              <a:ext uri="{FF2B5EF4-FFF2-40B4-BE49-F238E27FC236}">
                <a16:creationId xmlns:a16="http://schemas.microsoft.com/office/drawing/2014/main" xmlns="" id="{A7A9F869-97C7-9944-ADF6-8A0099A55613}"/>
              </a:ext>
            </a:extLst>
          </p:cNvPr>
          <p:cNvGrpSpPr/>
          <p:nvPr/>
        </p:nvGrpSpPr>
        <p:grpSpPr>
          <a:xfrm>
            <a:off x="440886" y="3883251"/>
            <a:ext cx="720000" cy="720000"/>
            <a:chOff x="1515054" y="1402723"/>
            <a:chExt cx="362309" cy="361971"/>
          </a:xfrm>
          <a:solidFill>
            <a:schemeClr val="accent1"/>
          </a:solidFill>
        </p:grpSpPr>
        <p:sp>
          <p:nvSpPr>
            <p:cNvPr id="31" name="Graphic 4">
              <a:extLst>
                <a:ext uri="{FF2B5EF4-FFF2-40B4-BE49-F238E27FC236}">
                  <a16:creationId xmlns:a16="http://schemas.microsoft.com/office/drawing/2014/main" xmlns="" id="{3E325024-09C8-8144-96C2-DDF094542BCC}"/>
                </a:ext>
              </a:extLst>
            </p:cNvPr>
            <p:cNvSpPr/>
            <p:nvPr/>
          </p:nvSpPr>
          <p:spPr>
            <a:xfrm>
              <a:off x="15150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180835 w 362309"/>
                <a:gd name="connsiteY6" fmla="*/ 0 h 361971"/>
                <a:gd name="connsiteX7" fmla="*/ 180835 w 362309"/>
                <a:gd name="connsiteY7" fmla="*/ 348565 h 361971"/>
                <a:gd name="connsiteX8" fmla="*/ 12780 w 362309"/>
                <a:gd name="connsiteY8" fmla="*/ 180028 h 361971"/>
                <a:gd name="connsiteX9" fmla="*/ 180835 w 362309"/>
                <a:gd name="connsiteY9" fmla="*/ 12130 h 361971"/>
                <a:gd name="connsiteX10" fmla="*/ 349529 w 362309"/>
                <a:gd name="connsiteY10" fmla="*/ 180028 h 361971"/>
                <a:gd name="connsiteX11" fmla="*/ 180835 w 362309"/>
                <a:gd name="connsiteY11" fmla="*/ 348565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8565"/>
                  </a:moveTo>
                  <a:cubicBezTo>
                    <a:pt x="87542" y="348565"/>
                    <a:pt x="12780" y="273234"/>
                    <a:pt x="12780" y="180028"/>
                  </a:cubicBezTo>
                  <a:cubicBezTo>
                    <a:pt x="12780" y="86822"/>
                    <a:pt x="88181" y="12130"/>
                    <a:pt x="180835" y="12130"/>
                  </a:cubicBezTo>
                  <a:cubicBezTo>
                    <a:pt x="274128" y="12130"/>
                    <a:pt x="349529" y="87461"/>
                    <a:pt x="349529" y="180028"/>
                  </a:cubicBezTo>
                  <a:cubicBezTo>
                    <a:pt x="348891" y="273234"/>
                    <a:pt x="273489" y="348565"/>
                    <a:pt x="180835" y="34856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xmlns="" id="{14CCE534-2C2E-2D43-B5DF-5462C525B6EB}"/>
                </a:ext>
              </a:extLst>
            </p:cNvPr>
            <p:cNvSpPr/>
            <p:nvPr/>
          </p:nvSpPr>
          <p:spPr>
            <a:xfrm>
              <a:off x="1579592" y="1458902"/>
              <a:ext cx="232036" cy="222800"/>
            </a:xfrm>
            <a:custGeom>
              <a:avLst/>
              <a:gdLst>
                <a:gd name="connsiteX0" fmla="*/ 225565 w 232036"/>
                <a:gd name="connsiteY0" fmla="*/ 194711 h 222800"/>
                <a:gd name="connsiteX1" fmla="*/ 219175 w 232036"/>
                <a:gd name="connsiteY1" fmla="*/ 194711 h 222800"/>
                <a:gd name="connsiteX2" fmla="*/ 219175 w 232036"/>
                <a:gd name="connsiteY2" fmla="*/ 74054 h 222800"/>
                <a:gd name="connsiteX3" fmla="*/ 200644 w 232036"/>
                <a:gd name="connsiteY3" fmla="*/ 55541 h 222800"/>
                <a:gd name="connsiteX4" fmla="*/ 200644 w 232036"/>
                <a:gd name="connsiteY4" fmla="*/ 55541 h 222800"/>
                <a:gd name="connsiteX5" fmla="*/ 189781 w 232036"/>
                <a:gd name="connsiteY5" fmla="*/ 55541 h 222800"/>
                <a:gd name="connsiteX6" fmla="*/ 178279 w 232036"/>
                <a:gd name="connsiteY6" fmla="*/ 3830 h 222800"/>
                <a:gd name="connsiteX7" fmla="*/ 171889 w 232036"/>
                <a:gd name="connsiteY7" fmla="*/ 0 h 222800"/>
                <a:gd name="connsiteX8" fmla="*/ 93932 w 232036"/>
                <a:gd name="connsiteY8" fmla="*/ 54902 h 222800"/>
                <a:gd name="connsiteX9" fmla="*/ 31311 w 232036"/>
                <a:gd name="connsiteY9" fmla="*/ 54902 h 222800"/>
                <a:gd name="connsiteX10" fmla="*/ 12780 w 232036"/>
                <a:gd name="connsiteY10" fmla="*/ 73416 h 222800"/>
                <a:gd name="connsiteX11" fmla="*/ 12780 w 232036"/>
                <a:gd name="connsiteY11" fmla="*/ 73416 h 222800"/>
                <a:gd name="connsiteX12" fmla="*/ 12780 w 232036"/>
                <a:gd name="connsiteY12" fmla="*/ 194073 h 222800"/>
                <a:gd name="connsiteX13" fmla="*/ 6390 w 232036"/>
                <a:gd name="connsiteY13" fmla="*/ 194073 h 222800"/>
                <a:gd name="connsiteX14" fmla="*/ 0 w 232036"/>
                <a:gd name="connsiteY14" fmla="*/ 200457 h 222800"/>
                <a:gd name="connsiteX15" fmla="*/ 22365 w 232036"/>
                <a:gd name="connsiteY15" fmla="*/ 222801 h 222800"/>
                <a:gd name="connsiteX16" fmla="*/ 209590 w 232036"/>
                <a:gd name="connsiteY16" fmla="*/ 222801 h 222800"/>
                <a:gd name="connsiteX17" fmla="*/ 231955 w 232036"/>
                <a:gd name="connsiteY17" fmla="*/ 200457 h 222800"/>
                <a:gd name="connsiteX18" fmla="*/ 225565 w 232036"/>
                <a:gd name="connsiteY18" fmla="*/ 194711 h 222800"/>
                <a:gd name="connsiteX19" fmla="*/ 225565 w 232036"/>
                <a:gd name="connsiteY19" fmla="*/ 194711 h 222800"/>
                <a:gd name="connsiteX20" fmla="*/ 168694 w 232036"/>
                <a:gd name="connsiteY20" fmla="*/ 13406 h 222800"/>
                <a:gd name="connsiteX21" fmla="*/ 162304 w 232036"/>
                <a:gd name="connsiteY21" fmla="*/ 118104 h 222800"/>
                <a:gd name="connsiteX22" fmla="*/ 162304 w 232036"/>
                <a:gd name="connsiteY22" fmla="*/ 123849 h 222800"/>
                <a:gd name="connsiteX23" fmla="*/ 159110 w 232036"/>
                <a:gd name="connsiteY23" fmla="*/ 171729 h 222800"/>
                <a:gd name="connsiteX24" fmla="*/ 125882 w 232036"/>
                <a:gd name="connsiteY24" fmla="*/ 156408 h 222800"/>
                <a:gd name="connsiteX25" fmla="*/ 123326 w 232036"/>
                <a:gd name="connsiteY25" fmla="*/ 155769 h 222800"/>
                <a:gd name="connsiteX26" fmla="*/ 118214 w 232036"/>
                <a:gd name="connsiteY26" fmla="*/ 158323 h 222800"/>
                <a:gd name="connsiteX27" fmla="*/ 95849 w 232036"/>
                <a:gd name="connsiteY27" fmla="*/ 165345 h 222800"/>
                <a:gd name="connsiteX28" fmla="*/ 86264 w 232036"/>
                <a:gd name="connsiteY28" fmla="*/ 141724 h 222800"/>
                <a:gd name="connsiteX29" fmla="*/ 82430 w 232036"/>
                <a:gd name="connsiteY29" fmla="*/ 134702 h 222800"/>
                <a:gd name="connsiteX30" fmla="*/ 49842 w 232036"/>
                <a:gd name="connsiteY30" fmla="*/ 119381 h 222800"/>
                <a:gd name="connsiteX31" fmla="*/ 84986 w 232036"/>
                <a:gd name="connsiteY31" fmla="*/ 89376 h 222800"/>
                <a:gd name="connsiteX32" fmla="*/ 90737 w 232036"/>
                <a:gd name="connsiteY32" fmla="*/ 85545 h 222800"/>
                <a:gd name="connsiteX33" fmla="*/ 100322 w 232036"/>
                <a:gd name="connsiteY33" fmla="*/ 67032 h 222800"/>
                <a:gd name="connsiteX34" fmla="*/ 102878 w 232036"/>
                <a:gd name="connsiteY34" fmla="*/ 63201 h 222800"/>
                <a:gd name="connsiteX35" fmla="*/ 168694 w 232036"/>
                <a:gd name="connsiteY35" fmla="*/ 13406 h 222800"/>
                <a:gd name="connsiteX36" fmla="*/ 25560 w 232036"/>
                <a:gd name="connsiteY36" fmla="*/ 73416 h 222800"/>
                <a:gd name="connsiteX37" fmla="*/ 31311 w 232036"/>
                <a:gd name="connsiteY37" fmla="*/ 67670 h 222800"/>
                <a:gd name="connsiteX38" fmla="*/ 31311 w 232036"/>
                <a:gd name="connsiteY38" fmla="*/ 67670 h 222800"/>
                <a:gd name="connsiteX39" fmla="*/ 86264 w 232036"/>
                <a:gd name="connsiteY39" fmla="*/ 67670 h 222800"/>
                <a:gd name="connsiteX40" fmla="*/ 82430 w 232036"/>
                <a:gd name="connsiteY40" fmla="*/ 75969 h 222800"/>
                <a:gd name="connsiteX41" fmla="*/ 37701 w 232036"/>
                <a:gd name="connsiteY41" fmla="*/ 120657 h 222800"/>
                <a:gd name="connsiteX42" fmla="*/ 41535 w 232036"/>
                <a:gd name="connsiteY42" fmla="*/ 127680 h 222800"/>
                <a:gd name="connsiteX43" fmla="*/ 74762 w 232036"/>
                <a:gd name="connsiteY43" fmla="*/ 143640 h 222800"/>
                <a:gd name="connsiteX44" fmla="*/ 92015 w 232036"/>
                <a:gd name="connsiteY44" fmla="*/ 176198 h 222800"/>
                <a:gd name="connsiteX45" fmla="*/ 125882 w 232036"/>
                <a:gd name="connsiteY45" fmla="*/ 169176 h 222800"/>
                <a:gd name="connsiteX46" fmla="*/ 159749 w 232036"/>
                <a:gd name="connsiteY46" fmla="*/ 185135 h 222800"/>
                <a:gd name="connsiteX47" fmla="*/ 162304 w 232036"/>
                <a:gd name="connsiteY47" fmla="*/ 185774 h 222800"/>
                <a:gd name="connsiteX48" fmla="*/ 167416 w 232036"/>
                <a:gd name="connsiteY48" fmla="*/ 183220 h 222800"/>
                <a:gd name="connsiteX49" fmla="*/ 176362 w 232036"/>
                <a:gd name="connsiteY49" fmla="*/ 120657 h 222800"/>
                <a:gd name="connsiteX50" fmla="*/ 190420 w 232036"/>
                <a:gd name="connsiteY50" fmla="*/ 67670 h 222800"/>
                <a:gd name="connsiteX51" fmla="*/ 201922 w 232036"/>
                <a:gd name="connsiteY51" fmla="*/ 67670 h 222800"/>
                <a:gd name="connsiteX52" fmla="*/ 207673 w 232036"/>
                <a:gd name="connsiteY52" fmla="*/ 73416 h 222800"/>
                <a:gd name="connsiteX53" fmla="*/ 207673 w 232036"/>
                <a:gd name="connsiteY53" fmla="*/ 73416 h 222800"/>
                <a:gd name="connsiteX54" fmla="*/ 207673 w 232036"/>
                <a:gd name="connsiteY54" fmla="*/ 194073 h 222800"/>
                <a:gd name="connsiteX55" fmla="*/ 26838 w 232036"/>
                <a:gd name="connsiteY55" fmla="*/ 194073 h 222800"/>
                <a:gd name="connsiteX56" fmla="*/ 25560 w 232036"/>
                <a:gd name="connsiteY56" fmla="*/ 73416 h 222800"/>
                <a:gd name="connsiteX57" fmla="*/ 209590 w 232036"/>
                <a:gd name="connsiteY57" fmla="*/ 210033 h 222800"/>
                <a:gd name="connsiteX58" fmla="*/ 22365 w 232036"/>
                <a:gd name="connsiteY58" fmla="*/ 210033 h 222800"/>
                <a:gd name="connsiteX59" fmla="*/ 15336 w 232036"/>
                <a:gd name="connsiteY59" fmla="*/ 206841 h 222800"/>
                <a:gd name="connsiteX60" fmla="*/ 216619 w 232036"/>
                <a:gd name="connsiteY60" fmla="*/ 206841 h 222800"/>
                <a:gd name="connsiteX61" fmla="*/ 209590 w 232036"/>
                <a:gd name="connsiteY61" fmla="*/ 210033 h 222800"/>
                <a:gd name="connsiteX62" fmla="*/ 209590 w 232036"/>
                <a:gd name="connsiteY62" fmla="*/ 210033 h 2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32036" h="222800">
                  <a:moveTo>
                    <a:pt x="225565" y="194711"/>
                  </a:moveTo>
                  <a:lnTo>
                    <a:pt x="219175" y="194711"/>
                  </a:lnTo>
                  <a:lnTo>
                    <a:pt x="219175" y="74054"/>
                  </a:lnTo>
                  <a:cubicBezTo>
                    <a:pt x="219175" y="63840"/>
                    <a:pt x="210868" y="55541"/>
                    <a:pt x="200644" y="55541"/>
                  </a:cubicBezTo>
                  <a:cubicBezTo>
                    <a:pt x="200644" y="55541"/>
                    <a:pt x="200644" y="55541"/>
                    <a:pt x="200644" y="55541"/>
                  </a:cubicBezTo>
                  <a:lnTo>
                    <a:pt x="189781" y="55541"/>
                  </a:lnTo>
                  <a:cubicBezTo>
                    <a:pt x="189781" y="37666"/>
                    <a:pt x="185947" y="19790"/>
                    <a:pt x="178279" y="3830"/>
                  </a:cubicBezTo>
                  <a:cubicBezTo>
                    <a:pt x="177001" y="1277"/>
                    <a:pt x="174445" y="0"/>
                    <a:pt x="171889" y="0"/>
                  </a:cubicBezTo>
                  <a:cubicBezTo>
                    <a:pt x="169972" y="0"/>
                    <a:pt x="125882" y="5107"/>
                    <a:pt x="93932" y="54902"/>
                  </a:cubicBezTo>
                  <a:lnTo>
                    <a:pt x="31311" y="54902"/>
                  </a:lnTo>
                  <a:cubicBezTo>
                    <a:pt x="21087" y="54902"/>
                    <a:pt x="12780" y="63201"/>
                    <a:pt x="12780" y="73416"/>
                  </a:cubicBezTo>
                  <a:lnTo>
                    <a:pt x="12780" y="73416"/>
                  </a:lnTo>
                  <a:lnTo>
                    <a:pt x="12780" y="194073"/>
                  </a:lnTo>
                  <a:lnTo>
                    <a:pt x="6390" y="194073"/>
                  </a:lnTo>
                  <a:cubicBezTo>
                    <a:pt x="2556" y="194073"/>
                    <a:pt x="0" y="196627"/>
                    <a:pt x="0" y="200457"/>
                  </a:cubicBezTo>
                  <a:cubicBezTo>
                    <a:pt x="0" y="212587"/>
                    <a:pt x="10224" y="222801"/>
                    <a:pt x="22365" y="222801"/>
                  </a:cubicBezTo>
                  <a:lnTo>
                    <a:pt x="209590" y="222801"/>
                  </a:lnTo>
                  <a:cubicBezTo>
                    <a:pt x="221731" y="222801"/>
                    <a:pt x="231955" y="212587"/>
                    <a:pt x="231955" y="200457"/>
                  </a:cubicBezTo>
                  <a:cubicBezTo>
                    <a:pt x="232594" y="197265"/>
                    <a:pt x="229399" y="194711"/>
                    <a:pt x="225565" y="194711"/>
                  </a:cubicBezTo>
                  <a:cubicBezTo>
                    <a:pt x="226204" y="194711"/>
                    <a:pt x="226204" y="194711"/>
                    <a:pt x="225565" y="194711"/>
                  </a:cubicBezTo>
                  <a:close/>
                  <a:moveTo>
                    <a:pt x="168694" y="13406"/>
                  </a:moveTo>
                  <a:cubicBezTo>
                    <a:pt x="189781" y="62563"/>
                    <a:pt x="162944" y="117465"/>
                    <a:pt x="162304" y="118104"/>
                  </a:cubicBezTo>
                  <a:cubicBezTo>
                    <a:pt x="161665" y="120019"/>
                    <a:pt x="161665" y="121934"/>
                    <a:pt x="162304" y="123849"/>
                  </a:cubicBezTo>
                  <a:cubicBezTo>
                    <a:pt x="169333" y="139171"/>
                    <a:pt x="168055" y="157046"/>
                    <a:pt x="159110" y="171729"/>
                  </a:cubicBezTo>
                  <a:lnTo>
                    <a:pt x="125882" y="156408"/>
                  </a:lnTo>
                  <a:cubicBezTo>
                    <a:pt x="125243" y="155769"/>
                    <a:pt x="123965" y="155769"/>
                    <a:pt x="123326" y="155769"/>
                  </a:cubicBezTo>
                  <a:cubicBezTo>
                    <a:pt x="121409" y="155769"/>
                    <a:pt x="119492" y="156408"/>
                    <a:pt x="118214" y="158323"/>
                  </a:cubicBezTo>
                  <a:cubicBezTo>
                    <a:pt x="118214" y="158323"/>
                    <a:pt x="107990" y="170452"/>
                    <a:pt x="95849" y="165345"/>
                  </a:cubicBezTo>
                  <a:cubicBezTo>
                    <a:pt x="83708" y="160238"/>
                    <a:pt x="86264" y="141724"/>
                    <a:pt x="86264" y="141724"/>
                  </a:cubicBezTo>
                  <a:cubicBezTo>
                    <a:pt x="86903" y="139171"/>
                    <a:pt x="84986" y="135979"/>
                    <a:pt x="82430" y="134702"/>
                  </a:cubicBezTo>
                  <a:lnTo>
                    <a:pt x="49842" y="119381"/>
                  </a:lnTo>
                  <a:cubicBezTo>
                    <a:pt x="53676" y="102782"/>
                    <a:pt x="67733" y="90014"/>
                    <a:pt x="84986" y="89376"/>
                  </a:cubicBezTo>
                  <a:cubicBezTo>
                    <a:pt x="87542" y="89376"/>
                    <a:pt x="90098" y="88099"/>
                    <a:pt x="90737" y="85545"/>
                  </a:cubicBezTo>
                  <a:cubicBezTo>
                    <a:pt x="93293" y="79161"/>
                    <a:pt x="96488" y="72777"/>
                    <a:pt x="100322" y="67032"/>
                  </a:cubicBezTo>
                  <a:cubicBezTo>
                    <a:pt x="101600" y="66393"/>
                    <a:pt x="102239" y="65117"/>
                    <a:pt x="102878" y="63201"/>
                  </a:cubicBezTo>
                  <a:cubicBezTo>
                    <a:pt x="127799" y="26174"/>
                    <a:pt x="157831" y="15960"/>
                    <a:pt x="168694" y="13406"/>
                  </a:cubicBezTo>
                  <a:close/>
                  <a:moveTo>
                    <a:pt x="25560" y="73416"/>
                  </a:moveTo>
                  <a:cubicBezTo>
                    <a:pt x="25560" y="70224"/>
                    <a:pt x="28116" y="67670"/>
                    <a:pt x="31311" y="67670"/>
                  </a:cubicBezTo>
                  <a:lnTo>
                    <a:pt x="31311" y="67670"/>
                  </a:lnTo>
                  <a:lnTo>
                    <a:pt x="86264" y="67670"/>
                  </a:lnTo>
                  <a:cubicBezTo>
                    <a:pt x="84986" y="70224"/>
                    <a:pt x="83708" y="72777"/>
                    <a:pt x="82430" y="75969"/>
                  </a:cubicBezTo>
                  <a:cubicBezTo>
                    <a:pt x="67733" y="77246"/>
                    <a:pt x="44091" y="88099"/>
                    <a:pt x="37701" y="120657"/>
                  </a:cubicBezTo>
                  <a:cubicBezTo>
                    <a:pt x="37062" y="123211"/>
                    <a:pt x="38340" y="126403"/>
                    <a:pt x="41535" y="127680"/>
                  </a:cubicBezTo>
                  <a:lnTo>
                    <a:pt x="74762" y="143640"/>
                  </a:lnTo>
                  <a:cubicBezTo>
                    <a:pt x="74762" y="151939"/>
                    <a:pt x="76040" y="169176"/>
                    <a:pt x="92015" y="176198"/>
                  </a:cubicBezTo>
                  <a:cubicBezTo>
                    <a:pt x="103517" y="181305"/>
                    <a:pt x="116936" y="178752"/>
                    <a:pt x="125882" y="169176"/>
                  </a:cubicBezTo>
                  <a:lnTo>
                    <a:pt x="159749" y="185135"/>
                  </a:lnTo>
                  <a:cubicBezTo>
                    <a:pt x="160387" y="185774"/>
                    <a:pt x="161665" y="185774"/>
                    <a:pt x="162304" y="185774"/>
                  </a:cubicBezTo>
                  <a:cubicBezTo>
                    <a:pt x="164221" y="185774"/>
                    <a:pt x="166138" y="185135"/>
                    <a:pt x="167416" y="183220"/>
                  </a:cubicBezTo>
                  <a:cubicBezTo>
                    <a:pt x="180835" y="165345"/>
                    <a:pt x="184669" y="141724"/>
                    <a:pt x="176362" y="120657"/>
                  </a:cubicBezTo>
                  <a:cubicBezTo>
                    <a:pt x="184030" y="104059"/>
                    <a:pt x="188503" y="86184"/>
                    <a:pt x="190420" y="67670"/>
                  </a:cubicBezTo>
                  <a:lnTo>
                    <a:pt x="201922" y="67670"/>
                  </a:lnTo>
                  <a:cubicBezTo>
                    <a:pt x="205117" y="67670"/>
                    <a:pt x="207673" y="70224"/>
                    <a:pt x="207673" y="73416"/>
                  </a:cubicBezTo>
                  <a:cubicBezTo>
                    <a:pt x="207673" y="73416"/>
                    <a:pt x="207673" y="73416"/>
                    <a:pt x="207673" y="73416"/>
                  </a:cubicBezTo>
                  <a:lnTo>
                    <a:pt x="207673" y="194073"/>
                  </a:lnTo>
                  <a:lnTo>
                    <a:pt x="26838" y="194073"/>
                  </a:lnTo>
                  <a:lnTo>
                    <a:pt x="25560" y="73416"/>
                  </a:lnTo>
                  <a:close/>
                  <a:moveTo>
                    <a:pt x="209590" y="210033"/>
                  </a:moveTo>
                  <a:lnTo>
                    <a:pt x="22365" y="210033"/>
                  </a:lnTo>
                  <a:cubicBezTo>
                    <a:pt x="19809" y="210033"/>
                    <a:pt x="17253" y="208756"/>
                    <a:pt x="15336" y="206841"/>
                  </a:cubicBezTo>
                  <a:lnTo>
                    <a:pt x="216619" y="206841"/>
                  </a:lnTo>
                  <a:cubicBezTo>
                    <a:pt x="215341" y="209395"/>
                    <a:pt x="212785" y="210671"/>
                    <a:pt x="209590" y="210033"/>
                  </a:cubicBezTo>
                  <a:lnTo>
                    <a:pt x="209590" y="21003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xmlns="" id="{8A8467E8-5C81-7C4B-BFD1-75D784D2950B}"/>
                </a:ext>
              </a:extLst>
            </p:cNvPr>
            <p:cNvSpPr/>
            <p:nvPr/>
          </p:nvSpPr>
          <p:spPr>
            <a:xfrm>
              <a:off x="1675441" y="1536787"/>
              <a:ext cx="54953" cy="54902"/>
            </a:xfrm>
            <a:custGeom>
              <a:avLst/>
              <a:gdLst>
                <a:gd name="connsiteX0" fmla="*/ 0 w 54953"/>
                <a:gd name="connsiteY0" fmla="*/ 27451 h 54902"/>
                <a:gd name="connsiteX1" fmla="*/ 27477 w 54953"/>
                <a:gd name="connsiteY1" fmla="*/ 54902 h 54902"/>
                <a:gd name="connsiteX2" fmla="*/ 54953 w 54953"/>
                <a:gd name="connsiteY2" fmla="*/ 27451 h 54902"/>
                <a:gd name="connsiteX3" fmla="*/ 27477 w 54953"/>
                <a:gd name="connsiteY3" fmla="*/ 0 h 54902"/>
                <a:gd name="connsiteX4" fmla="*/ 0 w 54953"/>
                <a:gd name="connsiteY4" fmla="*/ 27451 h 54902"/>
                <a:gd name="connsiteX5" fmla="*/ 27477 w 54953"/>
                <a:gd name="connsiteY5" fmla="*/ 12768 h 54902"/>
                <a:gd name="connsiteX6" fmla="*/ 42173 w 54953"/>
                <a:gd name="connsiteY6" fmla="*/ 27451 h 54902"/>
                <a:gd name="connsiteX7" fmla="*/ 27477 w 54953"/>
                <a:gd name="connsiteY7" fmla="*/ 42134 h 54902"/>
                <a:gd name="connsiteX8" fmla="*/ 12780 w 54953"/>
                <a:gd name="connsiteY8" fmla="*/ 27451 h 54902"/>
                <a:gd name="connsiteX9" fmla="*/ 27477 w 54953"/>
                <a:gd name="connsiteY9" fmla="*/ 12768 h 54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953" h="54902">
                  <a:moveTo>
                    <a:pt x="0" y="27451"/>
                  </a:moveTo>
                  <a:cubicBezTo>
                    <a:pt x="0" y="42773"/>
                    <a:pt x="12141" y="54902"/>
                    <a:pt x="27477" y="54902"/>
                  </a:cubicBezTo>
                  <a:cubicBezTo>
                    <a:pt x="42812" y="54902"/>
                    <a:pt x="54953" y="42773"/>
                    <a:pt x="54953" y="27451"/>
                  </a:cubicBezTo>
                  <a:cubicBezTo>
                    <a:pt x="54953" y="12130"/>
                    <a:pt x="42812" y="0"/>
                    <a:pt x="27477" y="0"/>
                  </a:cubicBezTo>
                  <a:cubicBezTo>
                    <a:pt x="12780" y="0"/>
                    <a:pt x="639" y="12130"/>
                    <a:pt x="0" y="27451"/>
                  </a:cubicBezTo>
                  <a:close/>
                  <a:moveTo>
                    <a:pt x="27477" y="12768"/>
                  </a:moveTo>
                  <a:cubicBezTo>
                    <a:pt x="35783" y="12768"/>
                    <a:pt x="42173" y="19152"/>
                    <a:pt x="42173" y="27451"/>
                  </a:cubicBezTo>
                  <a:cubicBezTo>
                    <a:pt x="42173" y="35750"/>
                    <a:pt x="35783" y="42134"/>
                    <a:pt x="27477" y="42134"/>
                  </a:cubicBezTo>
                  <a:cubicBezTo>
                    <a:pt x="19170" y="42134"/>
                    <a:pt x="12780" y="35750"/>
                    <a:pt x="12780" y="27451"/>
                  </a:cubicBezTo>
                  <a:cubicBezTo>
                    <a:pt x="13419" y="19152"/>
                    <a:pt x="19809" y="12768"/>
                    <a:pt x="27477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4" name="Graphic 4">
            <a:extLst>
              <a:ext uri="{FF2B5EF4-FFF2-40B4-BE49-F238E27FC236}">
                <a16:creationId xmlns:a16="http://schemas.microsoft.com/office/drawing/2014/main" xmlns="" id="{5B9D09E2-30F9-494D-A85D-1DE0CEE023E0}"/>
              </a:ext>
            </a:extLst>
          </p:cNvPr>
          <p:cNvGrpSpPr/>
          <p:nvPr/>
        </p:nvGrpSpPr>
        <p:grpSpPr>
          <a:xfrm>
            <a:off x="7901397" y="1799030"/>
            <a:ext cx="720000" cy="720000"/>
            <a:chOff x="467743" y="2855717"/>
            <a:chExt cx="361670" cy="362610"/>
          </a:xfrm>
          <a:solidFill>
            <a:schemeClr val="accent1"/>
          </a:solidFill>
        </p:grpSpPr>
        <p:sp>
          <p:nvSpPr>
            <p:cNvPr id="35" name="Graphic 4">
              <a:extLst>
                <a:ext uri="{FF2B5EF4-FFF2-40B4-BE49-F238E27FC236}">
                  <a16:creationId xmlns:a16="http://schemas.microsoft.com/office/drawing/2014/main" xmlns="" id="{348392B1-8556-2145-9C21-D00F63D2A95E}"/>
                </a:ext>
              </a:extLst>
            </p:cNvPr>
            <p:cNvSpPr/>
            <p:nvPr/>
          </p:nvSpPr>
          <p:spPr>
            <a:xfrm>
              <a:off x="467743" y="2855717"/>
              <a:ext cx="361670" cy="362610"/>
            </a:xfrm>
            <a:custGeom>
              <a:avLst/>
              <a:gdLst>
                <a:gd name="connsiteX0" fmla="*/ 180835 w 361670"/>
                <a:gd name="connsiteY0" fmla="*/ 0 h 362610"/>
                <a:gd name="connsiteX1" fmla="*/ 0 w 361670"/>
                <a:gd name="connsiteY1" fmla="*/ 181305 h 362610"/>
                <a:gd name="connsiteX2" fmla="*/ 180835 w 361670"/>
                <a:gd name="connsiteY2" fmla="*/ 362610 h 362610"/>
                <a:gd name="connsiteX3" fmla="*/ 361670 w 361670"/>
                <a:gd name="connsiteY3" fmla="*/ 181305 h 362610"/>
                <a:gd name="connsiteX4" fmla="*/ 361670 w 361670"/>
                <a:gd name="connsiteY4" fmla="*/ 181305 h 362610"/>
                <a:gd name="connsiteX5" fmla="*/ 180835 w 361670"/>
                <a:gd name="connsiteY5" fmla="*/ 0 h 362610"/>
                <a:gd name="connsiteX6" fmla="*/ 180835 w 361670"/>
                <a:gd name="connsiteY6" fmla="*/ 0 h 362610"/>
                <a:gd name="connsiteX7" fmla="*/ 180835 w 361670"/>
                <a:gd name="connsiteY7" fmla="*/ 349204 h 362610"/>
                <a:gd name="connsiteX8" fmla="*/ 12780 w 361670"/>
                <a:gd name="connsiteY8" fmla="*/ 180667 h 362610"/>
                <a:gd name="connsiteX9" fmla="*/ 180835 w 361670"/>
                <a:gd name="connsiteY9" fmla="*/ 12130 h 362610"/>
                <a:gd name="connsiteX10" fmla="*/ 348891 w 361670"/>
                <a:gd name="connsiteY10" fmla="*/ 180667 h 362610"/>
                <a:gd name="connsiteX11" fmla="*/ 180835 w 361670"/>
                <a:gd name="connsiteY11" fmla="*/ 349204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1670" h="362610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2610"/>
                    <a:pt x="180835" y="362610"/>
                  </a:cubicBezTo>
                  <a:cubicBezTo>
                    <a:pt x="280518" y="362610"/>
                    <a:pt x="361670" y="281533"/>
                    <a:pt x="361670" y="181305"/>
                  </a:cubicBezTo>
                  <a:cubicBezTo>
                    <a:pt x="361670" y="181305"/>
                    <a:pt x="361670" y="181305"/>
                    <a:pt x="361670" y="181305"/>
                  </a:cubicBezTo>
                  <a:cubicBezTo>
                    <a:pt x="361670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0667"/>
                  </a:cubicBezTo>
                  <a:cubicBezTo>
                    <a:pt x="12780" y="87460"/>
                    <a:pt x="88181" y="12130"/>
                    <a:pt x="180835" y="12130"/>
                  </a:cubicBezTo>
                  <a:cubicBezTo>
                    <a:pt x="273489" y="12130"/>
                    <a:pt x="348891" y="87460"/>
                    <a:pt x="348891" y="180667"/>
                  </a:cubicBezTo>
                  <a:cubicBezTo>
                    <a:pt x="348891" y="273234"/>
                    <a:pt x="273489" y="348565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xmlns="" id="{881634B5-D472-824A-A425-EBDEAEDE21A8}"/>
                </a:ext>
              </a:extLst>
            </p:cNvPr>
            <p:cNvSpPr/>
            <p:nvPr/>
          </p:nvSpPr>
          <p:spPr>
            <a:xfrm>
              <a:off x="603210" y="2977651"/>
              <a:ext cx="92015" cy="121295"/>
            </a:xfrm>
            <a:custGeom>
              <a:avLst/>
              <a:gdLst>
                <a:gd name="connsiteX0" fmla="*/ 92015 w 92015"/>
                <a:gd name="connsiteY0" fmla="*/ 45965 h 121295"/>
                <a:gd name="connsiteX1" fmla="*/ 46008 w 92015"/>
                <a:gd name="connsiteY1" fmla="*/ 0 h 121295"/>
                <a:gd name="connsiteX2" fmla="*/ 46008 w 92015"/>
                <a:gd name="connsiteY2" fmla="*/ 0 h 121295"/>
                <a:gd name="connsiteX3" fmla="*/ 0 w 92015"/>
                <a:gd name="connsiteY3" fmla="*/ 45965 h 121295"/>
                <a:gd name="connsiteX4" fmla="*/ 6390 w 92015"/>
                <a:gd name="connsiteY4" fmla="*/ 69586 h 121295"/>
                <a:gd name="connsiteX5" fmla="*/ 37701 w 92015"/>
                <a:gd name="connsiteY5" fmla="*/ 116827 h 121295"/>
                <a:gd name="connsiteX6" fmla="*/ 46008 w 92015"/>
                <a:gd name="connsiteY6" fmla="*/ 121296 h 121295"/>
                <a:gd name="connsiteX7" fmla="*/ 46008 w 92015"/>
                <a:gd name="connsiteY7" fmla="*/ 121296 h 121295"/>
                <a:gd name="connsiteX8" fmla="*/ 54314 w 92015"/>
                <a:gd name="connsiteY8" fmla="*/ 116827 h 121295"/>
                <a:gd name="connsiteX9" fmla="*/ 85625 w 92015"/>
                <a:gd name="connsiteY9" fmla="*/ 69586 h 121295"/>
                <a:gd name="connsiteX10" fmla="*/ 92015 w 92015"/>
                <a:gd name="connsiteY10" fmla="*/ 45965 h 121295"/>
                <a:gd name="connsiteX11" fmla="*/ 74762 w 92015"/>
                <a:gd name="connsiteY11" fmla="*/ 62563 h 121295"/>
                <a:gd name="connsiteX12" fmla="*/ 46008 w 92015"/>
                <a:gd name="connsiteY12" fmla="*/ 106613 h 121295"/>
                <a:gd name="connsiteX13" fmla="*/ 17253 w 92015"/>
                <a:gd name="connsiteY13" fmla="*/ 63202 h 121295"/>
                <a:gd name="connsiteX14" fmla="*/ 12780 w 92015"/>
                <a:gd name="connsiteY14" fmla="*/ 46603 h 121295"/>
                <a:gd name="connsiteX15" fmla="*/ 46008 w 92015"/>
                <a:gd name="connsiteY15" fmla="*/ 13406 h 121295"/>
                <a:gd name="connsiteX16" fmla="*/ 46647 w 92015"/>
                <a:gd name="connsiteY16" fmla="*/ 13406 h 121295"/>
                <a:gd name="connsiteX17" fmla="*/ 79874 w 92015"/>
                <a:gd name="connsiteY17" fmla="*/ 46603 h 121295"/>
                <a:gd name="connsiteX18" fmla="*/ 74762 w 92015"/>
                <a:gd name="connsiteY18" fmla="*/ 62563 h 121295"/>
                <a:gd name="connsiteX19" fmla="*/ 74762 w 92015"/>
                <a:gd name="connsiteY19" fmla="*/ 62563 h 12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2015" h="121295">
                  <a:moveTo>
                    <a:pt x="92015" y="45965"/>
                  </a:moveTo>
                  <a:cubicBezTo>
                    <a:pt x="92015" y="20429"/>
                    <a:pt x="71567" y="0"/>
                    <a:pt x="46008" y="0"/>
                  </a:cubicBezTo>
                  <a:lnTo>
                    <a:pt x="46008" y="0"/>
                  </a:lnTo>
                  <a:cubicBezTo>
                    <a:pt x="20448" y="0"/>
                    <a:pt x="0" y="20429"/>
                    <a:pt x="0" y="45965"/>
                  </a:cubicBezTo>
                  <a:cubicBezTo>
                    <a:pt x="0" y="54264"/>
                    <a:pt x="1917" y="62563"/>
                    <a:pt x="6390" y="69586"/>
                  </a:cubicBezTo>
                  <a:lnTo>
                    <a:pt x="37701" y="116827"/>
                  </a:lnTo>
                  <a:cubicBezTo>
                    <a:pt x="39618" y="119381"/>
                    <a:pt x="42813" y="121296"/>
                    <a:pt x="46008" y="121296"/>
                  </a:cubicBezTo>
                  <a:lnTo>
                    <a:pt x="46008" y="121296"/>
                  </a:lnTo>
                  <a:cubicBezTo>
                    <a:pt x="49202" y="121296"/>
                    <a:pt x="52397" y="119381"/>
                    <a:pt x="54314" y="116827"/>
                  </a:cubicBezTo>
                  <a:lnTo>
                    <a:pt x="85625" y="69586"/>
                  </a:lnTo>
                  <a:cubicBezTo>
                    <a:pt x="89459" y="61925"/>
                    <a:pt x="92015" y="54264"/>
                    <a:pt x="92015" y="45965"/>
                  </a:cubicBezTo>
                  <a:close/>
                  <a:moveTo>
                    <a:pt x="74762" y="62563"/>
                  </a:moveTo>
                  <a:lnTo>
                    <a:pt x="46008" y="106613"/>
                  </a:lnTo>
                  <a:lnTo>
                    <a:pt x="17253" y="63202"/>
                  </a:lnTo>
                  <a:cubicBezTo>
                    <a:pt x="14058" y="58094"/>
                    <a:pt x="12141" y="52349"/>
                    <a:pt x="12780" y="46603"/>
                  </a:cubicBezTo>
                  <a:cubicBezTo>
                    <a:pt x="12780" y="28090"/>
                    <a:pt x="27477" y="13406"/>
                    <a:pt x="46008" y="13406"/>
                  </a:cubicBezTo>
                  <a:lnTo>
                    <a:pt x="46647" y="13406"/>
                  </a:lnTo>
                  <a:cubicBezTo>
                    <a:pt x="65177" y="13406"/>
                    <a:pt x="79874" y="28728"/>
                    <a:pt x="79874" y="46603"/>
                  </a:cubicBezTo>
                  <a:cubicBezTo>
                    <a:pt x="79235" y="51710"/>
                    <a:pt x="77957" y="57456"/>
                    <a:pt x="74762" y="62563"/>
                  </a:cubicBezTo>
                  <a:lnTo>
                    <a:pt x="74762" y="6256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xmlns="" id="{983F9E5E-A924-C84F-949A-7AD6C781B8A1}"/>
                </a:ext>
              </a:extLst>
            </p:cNvPr>
            <p:cNvSpPr/>
            <p:nvPr/>
          </p:nvSpPr>
          <p:spPr>
            <a:xfrm>
              <a:off x="624935" y="2999357"/>
              <a:ext cx="48563" cy="48518"/>
            </a:xfrm>
            <a:custGeom>
              <a:avLst/>
              <a:gdLst>
                <a:gd name="connsiteX0" fmla="*/ 24282 w 48563"/>
                <a:gd name="connsiteY0" fmla="*/ 0 h 48518"/>
                <a:gd name="connsiteX1" fmla="*/ 0 w 48563"/>
                <a:gd name="connsiteY1" fmla="*/ 24259 h 48518"/>
                <a:gd name="connsiteX2" fmla="*/ 24282 w 48563"/>
                <a:gd name="connsiteY2" fmla="*/ 48518 h 48518"/>
                <a:gd name="connsiteX3" fmla="*/ 48564 w 48563"/>
                <a:gd name="connsiteY3" fmla="*/ 24259 h 48518"/>
                <a:gd name="connsiteX4" fmla="*/ 48564 w 48563"/>
                <a:gd name="connsiteY4" fmla="*/ 24259 h 48518"/>
                <a:gd name="connsiteX5" fmla="*/ 24282 w 48563"/>
                <a:gd name="connsiteY5" fmla="*/ 0 h 48518"/>
                <a:gd name="connsiteX6" fmla="*/ 24282 w 48563"/>
                <a:gd name="connsiteY6" fmla="*/ 36389 h 48518"/>
                <a:gd name="connsiteX7" fmla="*/ 12780 w 48563"/>
                <a:gd name="connsiteY7" fmla="*/ 24897 h 48518"/>
                <a:gd name="connsiteX8" fmla="*/ 24282 w 48563"/>
                <a:gd name="connsiteY8" fmla="*/ 13406 h 48518"/>
                <a:gd name="connsiteX9" fmla="*/ 35784 w 48563"/>
                <a:gd name="connsiteY9" fmla="*/ 24897 h 48518"/>
                <a:gd name="connsiteX10" fmla="*/ 24282 w 48563"/>
                <a:gd name="connsiteY10" fmla="*/ 36389 h 48518"/>
                <a:gd name="connsiteX11" fmla="*/ 24282 w 48563"/>
                <a:gd name="connsiteY11" fmla="*/ 36389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563" h="48518">
                  <a:moveTo>
                    <a:pt x="24282" y="0"/>
                  </a:moveTo>
                  <a:cubicBezTo>
                    <a:pt x="10863" y="0"/>
                    <a:pt x="0" y="10853"/>
                    <a:pt x="0" y="24259"/>
                  </a:cubicBezTo>
                  <a:cubicBezTo>
                    <a:pt x="0" y="37665"/>
                    <a:pt x="10863" y="48518"/>
                    <a:pt x="24282" y="48518"/>
                  </a:cubicBezTo>
                  <a:cubicBezTo>
                    <a:pt x="37701" y="48518"/>
                    <a:pt x="48564" y="37665"/>
                    <a:pt x="48564" y="24259"/>
                  </a:cubicBezTo>
                  <a:cubicBezTo>
                    <a:pt x="48564" y="24259"/>
                    <a:pt x="48564" y="24259"/>
                    <a:pt x="48564" y="24259"/>
                  </a:cubicBezTo>
                  <a:cubicBezTo>
                    <a:pt x="48564" y="10853"/>
                    <a:pt x="37701" y="0"/>
                    <a:pt x="24282" y="0"/>
                  </a:cubicBezTo>
                  <a:close/>
                  <a:moveTo>
                    <a:pt x="24282" y="36389"/>
                  </a:moveTo>
                  <a:cubicBezTo>
                    <a:pt x="17892" y="36389"/>
                    <a:pt x="12780" y="31281"/>
                    <a:pt x="12780" y="24897"/>
                  </a:cubicBezTo>
                  <a:cubicBezTo>
                    <a:pt x="12780" y="18514"/>
                    <a:pt x="17892" y="13406"/>
                    <a:pt x="24282" y="13406"/>
                  </a:cubicBezTo>
                  <a:cubicBezTo>
                    <a:pt x="30672" y="13406"/>
                    <a:pt x="35784" y="18514"/>
                    <a:pt x="35784" y="24897"/>
                  </a:cubicBezTo>
                  <a:cubicBezTo>
                    <a:pt x="35784" y="30643"/>
                    <a:pt x="30672" y="35750"/>
                    <a:pt x="24282" y="36389"/>
                  </a:cubicBezTo>
                  <a:cubicBezTo>
                    <a:pt x="24282" y="36389"/>
                    <a:pt x="24282" y="36389"/>
                    <a:pt x="24282" y="3638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xmlns="" id="{95DE2A93-A0DB-5640-81D3-E57C4C2290FD}"/>
                </a:ext>
              </a:extLst>
            </p:cNvPr>
            <p:cNvSpPr/>
            <p:nvPr/>
          </p:nvSpPr>
          <p:spPr>
            <a:xfrm>
              <a:off x="527808" y="3030000"/>
              <a:ext cx="44729" cy="12767"/>
            </a:xfrm>
            <a:custGeom>
              <a:avLst/>
              <a:gdLst>
                <a:gd name="connsiteX0" fmla="*/ 44730 w 44729"/>
                <a:gd name="connsiteY0" fmla="*/ 6384 h 12767"/>
                <a:gd name="connsiteX1" fmla="*/ 38340 w 44729"/>
                <a:gd name="connsiteY1" fmla="*/ 0 h 12767"/>
                <a:gd name="connsiteX2" fmla="*/ 6390 w 44729"/>
                <a:gd name="connsiteY2" fmla="*/ 0 h 12767"/>
                <a:gd name="connsiteX3" fmla="*/ 0 w 44729"/>
                <a:gd name="connsiteY3" fmla="*/ 6384 h 12767"/>
                <a:gd name="connsiteX4" fmla="*/ 6390 w 44729"/>
                <a:gd name="connsiteY4" fmla="*/ 12768 h 12767"/>
                <a:gd name="connsiteX5" fmla="*/ 38340 w 44729"/>
                <a:gd name="connsiteY5" fmla="*/ 12768 h 12767"/>
                <a:gd name="connsiteX6" fmla="*/ 44730 w 44729"/>
                <a:gd name="connsiteY6" fmla="*/ 6384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44730" y="6384"/>
                  </a:moveTo>
                  <a:cubicBezTo>
                    <a:pt x="44730" y="2554"/>
                    <a:pt x="42174" y="0"/>
                    <a:pt x="38340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1535" y="12768"/>
                    <a:pt x="44730" y="10214"/>
                    <a:pt x="44730" y="638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xmlns="" id="{CB8BD740-4B52-654B-A907-AE11314F824F}"/>
                </a:ext>
              </a:extLst>
            </p:cNvPr>
            <p:cNvSpPr/>
            <p:nvPr/>
          </p:nvSpPr>
          <p:spPr>
            <a:xfrm>
              <a:off x="724618" y="3030000"/>
              <a:ext cx="44729" cy="12767"/>
            </a:xfrm>
            <a:custGeom>
              <a:avLst/>
              <a:gdLst>
                <a:gd name="connsiteX0" fmla="*/ 38340 w 44729"/>
                <a:gd name="connsiteY0" fmla="*/ 0 h 12767"/>
                <a:gd name="connsiteX1" fmla="*/ 6390 w 44729"/>
                <a:gd name="connsiteY1" fmla="*/ 0 h 12767"/>
                <a:gd name="connsiteX2" fmla="*/ 0 w 44729"/>
                <a:gd name="connsiteY2" fmla="*/ 6384 h 12767"/>
                <a:gd name="connsiteX3" fmla="*/ 6390 w 44729"/>
                <a:gd name="connsiteY3" fmla="*/ 12768 h 12767"/>
                <a:gd name="connsiteX4" fmla="*/ 38340 w 44729"/>
                <a:gd name="connsiteY4" fmla="*/ 12768 h 12767"/>
                <a:gd name="connsiteX5" fmla="*/ 44730 w 44729"/>
                <a:gd name="connsiteY5" fmla="*/ 6384 h 12767"/>
                <a:gd name="connsiteX6" fmla="*/ 38340 w 44729"/>
                <a:gd name="connsiteY6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9" h="12767">
                  <a:moveTo>
                    <a:pt x="38340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8340" y="12768"/>
                  </a:lnTo>
                  <a:cubicBezTo>
                    <a:pt x="42174" y="12768"/>
                    <a:pt x="44730" y="10214"/>
                    <a:pt x="44730" y="6384"/>
                  </a:cubicBezTo>
                  <a:cubicBezTo>
                    <a:pt x="44730" y="2554"/>
                    <a:pt x="42174" y="0"/>
                    <a:pt x="3834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xmlns="" id="{AE00ED5A-0A58-D840-AF15-2373A8C2BAC0}"/>
                </a:ext>
              </a:extLst>
            </p:cNvPr>
            <p:cNvSpPr/>
            <p:nvPr/>
          </p:nvSpPr>
          <p:spPr>
            <a:xfrm>
              <a:off x="642188" y="2915088"/>
              <a:ext cx="12779" cy="44687"/>
            </a:xfrm>
            <a:custGeom>
              <a:avLst/>
              <a:gdLst>
                <a:gd name="connsiteX0" fmla="*/ 6390 w 12779"/>
                <a:gd name="connsiteY0" fmla="*/ 44688 h 44687"/>
                <a:gd name="connsiteX1" fmla="*/ 12780 w 12779"/>
                <a:gd name="connsiteY1" fmla="*/ 38304 h 44687"/>
                <a:gd name="connsiteX2" fmla="*/ 12780 w 12779"/>
                <a:gd name="connsiteY2" fmla="*/ 6384 h 44687"/>
                <a:gd name="connsiteX3" fmla="*/ 6390 w 12779"/>
                <a:gd name="connsiteY3" fmla="*/ 0 h 44687"/>
                <a:gd name="connsiteX4" fmla="*/ 0 w 12779"/>
                <a:gd name="connsiteY4" fmla="*/ 6384 h 44687"/>
                <a:gd name="connsiteX5" fmla="*/ 0 w 12779"/>
                <a:gd name="connsiteY5" fmla="*/ 38304 h 44687"/>
                <a:gd name="connsiteX6" fmla="*/ 6390 w 12779"/>
                <a:gd name="connsiteY6" fmla="*/ 44688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44688"/>
                  </a:move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Graphic 4">
              <a:extLst>
                <a:ext uri="{FF2B5EF4-FFF2-40B4-BE49-F238E27FC236}">
                  <a16:creationId xmlns:a16="http://schemas.microsoft.com/office/drawing/2014/main" xmlns="" id="{83263CD3-D7F2-E24A-87A0-ABACF796EF1D}"/>
                </a:ext>
              </a:extLst>
            </p:cNvPr>
            <p:cNvSpPr/>
            <p:nvPr/>
          </p:nvSpPr>
          <p:spPr>
            <a:xfrm>
              <a:off x="642827" y="3112992"/>
              <a:ext cx="12779" cy="44687"/>
            </a:xfrm>
            <a:custGeom>
              <a:avLst/>
              <a:gdLst>
                <a:gd name="connsiteX0" fmla="*/ 6390 w 12779"/>
                <a:gd name="connsiteY0" fmla="*/ 0 h 44687"/>
                <a:gd name="connsiteX1" fmla="*/ 0 w 12779"/>
                <a:gd name="connsiteY1" fmla="*/ 6384 h 44687"/>
                <a:gd name="connsiteX2" fmla="*/ 0 w 12779"/>
                <a:gd name="connsiteY2" fmla="*/ 38304 h 44687"/>
                <a:gd name="connsiteX3" fmla="*/ 6390 w 12779"/>
                <a:gd name="connsiteY3" fmla="*/ 44688 h 44687"/>
                <a:gd name="connsiteX4" fmla="*/ 12780 w 12779"/>
                <a:gd name="connsiteY4" fmla="*/ 38304 h 44687"/>
                <a:gd name="connsiteX5" fmla="*/ 12780 w 12779"/>
                <a:gd name="connsiteY5" fmla="*/ 6384 h 44687"/>
                <a:gd name="connsiteX6" fmla="*/ 6390 w 12779"/>
                <a:gd name="connsiteY6" fmla="*/ 0 h 4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779" h="44687">
                  <a:moveTo>
                    <a:pt x="6390" y="0"/>
                  </a:moveTo>
                  <a:cubicBezTo>
                    <a:pt x="2556" y="0"/>
                    <a:pt x="0" y="2554"/>
                    <a:pt x="0" y="6384"/>
                  </a:cubicBezTo>
                  <a:lnTo>
                    <a:pt x="0" y="38304"/>
                  </a:lnTo>
                  <a:cubicBezTo>
                    <a:pt x="0" y="42134"/>
                    <a:pt x="2556" y="44688"/>
                    <a:pt x="6390" y="44688"/>
                  </a:cubicBezTo>
                  <a:cubicBezTo>
                    <a:pt x="10224" y="44688"/>
                    <a:pt x="12780" y="42134"/>
                    <a:pt x="12780" y="38304"/>
                  </a:cubicBez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4">
              <a:extLst>
                <a:ext uri="{FF2B5EF4-FFF2-40B4-BE49-F238E27FC236}">
                  <a16:creationId xmlns:a16="http://schemas.microsoft.com/office/drawing/2014/main" xmlns="" id="{6B637347-0A8A-7946-A648-A255EB4253AD}"/>
                </a:ext>
              </a:extLst>
            </p:cNvPr>
            <p:cNvSpPr/>
            <p:nvPr/>
          </p:nvSpPr>
          <p:spPr>
            <a:xfrm>
              <a:off x="552729" y="3051067"/>
              <a:ext cx="81152" cy="81076"/>
            </a:xfrm>
            <a:custGeom>
              <a:avLst/>
              <a:gdLst>
                <a:gd name="connsiteX0" fmla="*/ 74762 w 81152"/>
                <a:gd name="connsiteY0" fmla="*/ 68309 h 81076"/>
                <a:gd name="connsiteX1" fmla="*/ 12780 w 81152"/>
                <a:gd name="connsiteY1" fmla="*/ 68309 h 81076"/>
                <a:gd name="connsiteX2" fmla="*/ 12780 w 81152"/>
                <a:gd name="connsiteY2" fmla="*/ 6384 h 81076"/>
                <a:gd name="connsiteX3" fmla="*/ 6390 w 81152"/>
                <a:gd name="connsiteY3" fmla="*/ 0 h 81076"/>
                <a:gd name="connsiteX4" fmla="*/ 0 w 81152"/>
                <a:gd name="connsiteY4" fmla="*/ 6384 h 81076"/>
                <a:gd name="connsiteX5" fmla="*/ 0 w 81152"/>
                <a:gd name="connsiteY5" fmla="*/ 74693 h 81076"/>
                <a:gd name="connsiteX6" fmla="*/ 6390 w 81152"/>
                <a:gd name="connsiteY6" fmla="*/ 81077 h 81076"/>
                <a:gd name="connsiteX7" fmla="*/ 74762 w 81152"/>
                <a:gd name="connsiteY7" fmla="*/ 81077 h 81076"/>
                <a:gd name="connsiteX8" fmla="*/ 81152 w 81152"/>
                <a:gd name="connsiteY8" fmla="*/ 74693 h 81076"/>
                <a:gd name="connsiteX9" fmla="*/ 74762 w 81152"/>
                <a:gd name="connsiteY9" fmla="*/ 68309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68309"/>
                  </a:moveTo>
                  <a:lnTo>
                    <a:pt x="12780" y="68309"/>
                  </a:lnTo>
                  <a:lnTo>
                    <a:pt x="12780" y="6384"/>
                  </a:lnTo>
                  <a:cubicBezTo>
                    <a:pt x="12780" y="2554"/>
                    <a:pt x="10224" y="0"/>
                    <a:pt x="6390" y="0"/>
                  </a:cubicBez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cubicBezTo>
                    <a:pt x="81152" y="70862"/>
                    <a:pt x="77957" y="68309"/>
                    <a:pt x="74762" y="68309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xmlns="" id="{2E26ADCE-7183-C94F-83F1-801EAD3F0782}"/>
                </a:ext>
              </a:extLst>
            </p:cNvPr>
            <p:cNvSpPr/>
            <p:nvPr/>
          </p:nvSpPr>
          <p:spPr>
            <a:xfrm>
              <a:off x="663275" y="3051067"/>
              <a:ext cx="81152" cy="81076"/>
            </a:xfrm>
            <a:custGeom>
              <a:avLst/>
              <a:gdLst>
                <a:gd name="connsiteX0" fmla="*/ 74762 w 81152"/>
                <a:gd name="connsiteY0" fmla="*/ 0 h 81076"/>
                <a:gd name="connsiteX1" fmla="*/ 68372 w 81152"/>
                <a:gd name="connsiteY1" fmla="*/ 6384 h 81076"/>
                <a:gd name="connsiteX2" fmla="*/ 68372 w 81152"/>
                <a:gd name="connsiteY2" fmla="*/ 68309 h 81076"/>
                <a:gd name="connsiteX3" fmla="*/ 6390 w 81152"/>
                <a:gd name="connsiteY3" fmla="*/ 68309 h 81076"/>
                <a:gd name="connsiteX4" fmla="*/ 0 w 81152"/>
                <a:gd name="connsiteY4" fmla="*/ 74693 h 81076"/>
                <a:gd name="connsiteX5" fmla="*/ 6390 w 81152"/>
                <a:gd name="connsiteY5" fmla="*/ 81077 h 81076"/>
                <a:gd name="connsiteX6" fmla="*/ 74762 w 81152"/>
                <a:gd name="connsiteY6" fmla="*/ 81077 h 81076"/>
                <a:gd name="connsiteX7" fmla="*/ 81152 w 81152"/>
                <a:gd name="connsiteY7" fmla="*/ 74693 h 81076"/>
                <a:gd name="connsiteX8" fmla="*/ 81152 w 81152"/>
                <a:gd name="connsiteY8" fmla="*/ 6384 h 81076"/>
                <a:gd name="connsiteX9" fmla="*/ 74762 w 81152"/>
                <a:gd name="connsiteY9" fmla="*/ 0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74762" y="0"/>
                  </a:moveTo>
                  <a:cubicBezTo>
                    <a:pt x="70928" y="0"/>
                    <a:pt x="68372" y="2554"/>
                    <a:pt x="68372" y="6384"/>
                  </a:cubicBezTo>
                  <a:lnTo>
                    <a:pt x="68372" y="68309"/>
                  </a:lnTo>
                  <a:lnTo>
                    <a:pt x="6390" y="68309"/>
                  </a:lnTo>
                  <a:cubicBezTo>
                    <a:pt x="2556" y="68309"/>
                    <a:pt x="0" y="70862"/>
                    <a:pt x="0" y="74693"/>
                  </a:cubicBezTo>
                  <a:cubicBezTo>
                    <a:pt x="0" y="78523"/>
                    <a:pt x="2556" y="81077"/>
                    <a:pt x="6390" y="81077"/>
                  </a:cubicBezTo>
                  <a:lnTo>
                    <a:pt x="74762" y="81077"/>
                  </a:ln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xmlns="" id="{E6FEDE2F-7075-7A49-B894-07D5B3E0E072}"/>
                </a:ext>
              </a:extLst>
            </p:cNvPr>
            <p:cNvSpPr/>
            <p:nvPr/>
          </p:nvSpPr>
          <p:spPr>
            <a:xfrm>
              <a:off x="663275" y="2939986"/>
              <a:ext cx="81152" cy="81076"/>
            </a:xfrm>
            <a:custGeom>
              <a:avLst/>
              <a:gdLst>
                <a:gd name="connsiteX0" fmla="*/ 6390 w 81152"/>
                <a:gd name="connsiteY0" fmla="*/ 12768 h 81076"/>
                <a:gd name="connsiteX1" fmla="*/ 68372 w 81152"/>
                <a:gd name="connsiteY1" fmla="*/ 12768 h 81076"/>
                <a:gd name="connsiteX2" fmla="*/ 68372 w 81152"/>
                <a:gd name="connsiteY2" fmla="*/ 74693 h 81076"/>
                <a:gd name="connsiteX3" fmla="*/ 74762 w 81152"/>
                <a:gd name="connsiteY3" fmla="*/ 81077 h 81076"/>
                <a:gd name="connsiteX4" fmla="*/ 81152 w 81152"/>
                <a:gd name="connsiteY4" fmla="*/ 74693 h 81076"/>
                <a:gd name="connsiteX5" fmla="*/ 81152 w 81152"/>
                <a:gd name="connsiteY5" fmla="*/ 6384 h 81076"/>
                <a:gd name="connsiteX6" fmla="*/ 74762 w 81152"/>
                <a:gd name="connsiteY6" fmla="*/ 0 h 81076"/>
                <a:gd name="connsiteX7" fmla="*/ 6390 w 81152"/>
                <a:gd name="connsiteY7" fmla="*/ 0 h 81076"/>
                <a:gd name="connsiteX8" fmla="*/ 0 w 81152"/>
                <a:gd name="connsiteY8" fmla="*/ 6384 h 81076"/>
                <a:gd name="connsiteX9" fmla="*/ 6390 w 81152"/>
                <a:gd name="connsiteY9" fmla="*/ 12768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12768"/>
                  </a:moveTo>
                  <a:lnTo>
                    <a:pt x="68372" y="12768"/>
                  </a:lnTo>
                  <a:lnTo>
                    <a:pt x="68372" y="74693"/>
                  </a:lnTo>
                  <a:cubicBezTo>
                    <a:pt x="68372" y="78523"/>
                    <a:pt x="70928" y="81077"/>
                    <a:pt x="74762" y="81077"/>
                  </a:cubicBezTo>
                  <a:cubicBezTo>
                    <a:pt x="78596" y="81077"/>
                    <a:pt x="81152" y="78523"/>
                    <a:pt x="81152" y="74693"/>
                  </a:cubicBezTo>
                  <a:lnTo>
                    <a:pt x="81152" y="6384"/>
                  </a:ln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Graphic 4">
              <a:extLst>
                <a:ext uri="{FF2B5EF4-FFF2-40B4-BE49-F238E27FC236}">
                  <a16:creationId xmlns:a16="http://schemas.microsoft.com/office/drawing/2014/main" xmlns="" id="{5D919DD8-71EA-6148-9C69-A3E77FBEE70A}"/>
                </a:ext>
              </a:extLst>
            </p:cNvPr>
            <p:cNvSpPr/>
            <p:nvPr/>
          </p:nvSpPr>
          <p:spPr>
            <a:xfrm>
              <a:off x="552090" y="2939986"/>
              <a:ext cx="81152" cy="81076"/>
            </a:xfrm>
            <a:custGeom>
              <a:avLst/>
              <a:gdLst>
                <a:gd name="connsiteX0" fmla="*/ 6390 w 81152"/>
                <a:gd name="connsiteY0" fmla="*/ 81077 h 81076"/>
                <a:gd name="connsiteX1" fmla="*/ 12780 w 81152"/>
                <a:gd name="connsiteY1" fmla="*/ 74693 h 81076"/>
                <a:gd name="connsiteX2" fmla="*/ 12780 w 81152"/>
                <a:gd name="connsiteY2" fmla="*/ 12768 h 81076"/>
                <a:gd name="connsiteX3" fmla="*/ 74762 w 81152"/>
                <a:gd name="connsiteY3" fmla="*/ 12768 h 81076"/>
                <a:gd name="connsiteX4" fmla="*/ 81152 w 81152"/>
                <a:gd name="connsiteY4" fmla="*/ 6384 h 81076"/>
                <a:gd name="connsiteX5" fmla="*/ 74762 w 81152"/>
                <a:gd name="connsiteY5" fmla="*/ 0 h 81076"/>
                <a:gd name="connsiteX6" fmla="*/ 6390 w 81152"/>
                <a:gd name="connsiteY6" fmla="*/ 0 h 81076"/>
                <a:gd name="connsiteX7" fmla="*/ 0 w 81152"/>
                <a:gd name="connsiteY7" fmla="*/ 6384 h 81076"/>
                <a:gd name="connsiteX8" fmla="*/ 0 w 81152"/>
                <a:gd name="connsiteY8" fmla="*/ 74693 h 81076"/>
                <a:gd name="connsiteX9" fmla="*/ 6390 w 81152"/>
                <a:gd name="connsiteY9" fmla="*/ 81077 h 8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52" h="81076">
                  <a:moveTo>
                    <a:pt x="6390" y="81077"/>
                  </a:moveTo>
                  <a:cubicBezTo>
                    <a:pt x="10224" y="81077"/>
                    <a:pt x="12780" y="78523"/>
                    <a:pt x="12780" y="74693"/>
                  </a:cubicBezTo>
                  <a:lnTo>
                    <a:pt x="12780" y="12768"/>
                  </a:lnTo>
                  <a:lnTo>
                    <a:pt x="74762" y="12768"/>
                  </a:lnTo>
                  <a:cubicBezTo>
                    <a:pt x="78596" y="12768"/>
                    <a:pt x="81152" y="10214"/>
                    <a:pt x="81152" y="6384"/>
                  </a:cubicBezTo>
                  <a:cubicBezTo>
                    <a:pt x="81152" y="2554"/>
                    <a:pt x="78596" y="0"/>
                    <a:pt x="74762" y="0"/>
                  </a:cubicBez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74693"/>
                  </a:lnTo>
                  <a:cubicBezTo>
                    <a:pt x="0" y="78523"/>
                    <a:pt x="3195" y="81077"/>
                    <a:pt x="6390" y="8107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4" name="Content Placeholder 2"/>
          <p:cNvSpPr txBox="1">
            <a:spLocks/>
          </p:cNvSpPr>
          <p:nvPr/>
        </p:nvSpPr>
        <p:spPr>
          <a:xfrm>
            <a:off x="8740972" y="1901768"/>
            <a:ext cx="3041901" cy="1785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ru-RU" sz="1400" dirty="0" smtClean="0"/>
              <a:t>Компания «Деловые Решения и Технологии»</a:t>
            </a:r>
            <a:r>
              <a:rPr lang="ru-RU" sz="2000" b="1" dirty="0"/>
              <a:t> </a:t>
            </a:r>
            <a:r>
              <a:rPr lang="ru-RU" sz="2000" b="1" dirty="0">
                <a:solidFill>
                  <a:schemeClr val="accent1"/>
                </a:solidFill>
              </a:rPr>
              <a:t>представлена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в </a:t>
            </a:r>
            <a:r>
              <a:rPr lang="ru-RU" sz="1400" dirty="0" smtClean="0"/>
              <a:t>восьми </a:t>
            </a:r>
            <a:r>
              <a:rPr lang="ru-RU" sz="1400" dirty="0"/>
              <a:t>городах </a:t>
            </a:r>
            <a:r>
              <a:rPr lang="ru-RU" sz="2000" b="1" dirty="0">
                <a:solidFill>
                  <a:schemeClr val="accent1"/>
                </a:solidFill>
              </a:rPr>
              <a:t>России</a:t>
            </a:r>
            <a:r>
              <a:rPr lang="en-US" sz="2000" b="1" dirty="0">
                <a:solidFill>
                  <a:schemeClr val="accent1"/>
                </a:solidFill>
              </a:rPr>
              <a:t>, </a:t>
            </a:r>
            <a:r>
              <a:rPr lang="ru-RU" sz="2000" b="1" dirty="0">
                <a:solidFill>
                  <a:schemeClr val="accent1"/>
                </a:solidFill>
              </a:rPr>
              <a:t>Беларуси и Казахстана</a:t>
            </a:r>
            <a:r>
              <a:rPr lang="ru-RU" sz="2000" b="1" dirty="0"/>
              <a:t> </a:t>
            </a:r>
            <a:r>
              <a:rPr lang="ru-RU" sz="1400" dirty="0" smtClean="0"/>
              <a:t>— Москве, Санкт-Петербурге, Уфе, Екатеринбурге, Новосибирске, Владивостоке, Минске и Астане</a:t>
            </a:r>
          </a:p>
        </p:txBody>
      </p:sp>
      <p:grpSp>
        <p:nvGrpSpPr>
          <p:cNvPr id="82" name="Graphic 4">
            <a:extLst>
              <a:ext uri="{FF2B5EF4-FFF2-40B4-BE49-F238E27FC236}">
                <a16:creationId xmlns:a16="http://schemas.microsoft.com/office/drawing/2014/main" xmlns="" id="{F57C03DC-32A3-444B-8C2E-8F7222ED8D29}"/>
              </a:ext>
            </a:extLst>
          </p:cNvPr>
          <p:cNvGrpSpPr/>
          <p:nvPr/>
        </p:nvGrpSpPr>
        <p:grpSpPr>
          <a:xfrm>
            <a:off x="456658" y="1665451"/>
            <a:ext cx="720000" cy="720000"/>
            <a:chOff x="467743" y="2855717"/>
            <a:chExt cx="361670" cy="361333"/>
          </a:xfrm>
          <a:solidFill>
            <a:schemeClr val="accent1"/>
          </a:solidFill>
        </p:grpSpPr>
        <p:sp>
          <p:nvSpPr>
            <p:cNvPr id="83" name="Graphic 4">
              <a:extLst>
                <a:ext uri="{FF2B5EF4-FFF2-40B4-BE49-F238E27FC236}">
                  <a16:creationId xmlns:a16="http://schemas.microsoft.com/office/drawing/2014/main" xmlns="" id="{037CC9E5-367D-2E48-84B5-87AC49B42731}"/>
                </a:ext>
              </a:extLst>
            </p:cNvPr>
            <p:cNvSpPr/>
            <p:nvPr/>
          </p:nvSpPr>
          <p:spPr>
            <a:xfrm>
              <a:off x="467743" y="2855717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180835 w 361670"/>
                <a:gd name="connsiteY5" fmla="*/ 349204 h 361333"/>
                <a:gd name="connsiteX6" fmla="*/ 12780 w 361670"/>
                <a:gd name="connsiteY6" fmla="*/ 181305 h 361333"/>
                <a:gd name="connsiteX7" fmla="*/ 180835 w 361670"/>
                <a:gd name="connsiteY7" fmla="*/ 13406 h 361333"/>
                <a:gd name="connsiteX8" fmla="*/ 348891 w 361670"/>
                <a:gd name="connsiteY8" fmla="*/ 181305 h 361333"/>
                <a:gd name="connsiteX9" fmla="*/ 180835 w 361670"/>
                <a:gd name="connsiteY9" fmla="*/ 3492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0518" y="361333"/>
                    <a:pt x="361670" y="280257"/>
                    <a:pt x="361670" y="180667"/>
                  </a:cubicBezTo>
                  <a:cubicBezTo>
                    <a:pt x="361670" y="80438"/>
                    <a:pt x="280518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8181" y="349204"/>
                    <a:pt x="12780" y="273873"/>
                    <a:pt x="12780" y="181305"/>
                  </a:cubicBezTo>
                  <a:cubicBezTo>
                    <a:pt x="12780" y="88737"/>
                    <a:pt x="88181" y="13406"/>
                    <a:pt x="180835" y="13406"/>
                  </a:cubicBezTo>
                  <a:cubicBezTo>
                    <a:pt x="273489" y="13406"/>
                    <a:pt x="348891" y="88737"/>
                    <a:pt x="348891" y="181305"/>
                  </a:cubicBezTo>
                  <a:cubicBezTo>
                    <a:pt x="348891" y="273234"/>
                    <a:pt x="273489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Graphic 4">
              <a:extLst>
                <a:ext uri="{FF2B5EF4-FFF2-40B4-BE49-F238E27FC236}">
                  <a16:creationId xmlns:a16="http://schemas.microsoft.com/office/drawing/2014/main" xmlns="" id="{98A63D69-43BD-2445-8A2F-CE45FBA4ED8C}"/>
                </a:ext>
              </a:extLst>
            </p:cNvPr>
            <p:cNvSpPr/>
            <p:nvPr/>
          </p:nvSpPr>
          <p:spPr>
            <a:xfrm>
              <a:off x="578928" y="3039576"/>
              <a:ext cx="142495" cy="74054"/>
            </a:xfrm>
            <a:custGeom>
              <a:avLst/>
              <a:gdLst>
                <a:gd name="connsiteX0" fmla="*/ 88820 w 142495"/>
                <a:gd name="connsiteY0" fmla="*/ 0 h 74054"/>
                <a:gd name="connsiteX1" fmla="*/ 53036 w 142495"/>
                <a:gd name="connsiteY1" fmla="*/ 0 h 74054"/>
                <a:gd name="connsiteX2" fmla="*/ 0 w 142495"/>
                <a:gd name="connsiteY2" fmla="*/ 56817 h 74054"/>
                <a:gd name="connsiteX3" fmla="*/ 0 w 142495"/>
                <a:gd name="connsiteY3" fmla="*/ 67670 h 74054"/>
                <a:gd name="connsiteX4" fmla="*/ 6390 w 142495"/>
                <a:gd name="connsiteY4" fmla="*/ 74054 h 74054"/>
                <a:gd name="connsiteX5" fmla="*/ 136106 w 142495"/>
                <a:gd name="connsiteY5" fmla="*/ 74054 h 74054"/>
                <a:gd name="connsiteX6" fmla="*/ 142496 w 142495"/>
                <a:gd name="connsiteY6" fmla="*/ 67670 h 74054"/>
                <a:gd name="connsiteX7" fmla="*/ 142496 w 142495"/>
                <a:gd name="connsiteY7" fmla="*/ 56817 h 74054"/>
                <a:gd name="connsiteX8" fmla="*/ 88820 w 142495"/>
                <a:gd name="connsiteY8" fmla="*/ 0 h 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495" h="74054">
                  <a:moveTo>
                    <a:pt x="88820" y="0"/>
                  </a:moveTo>
                  <a:lnTo>
                    <a:pt x="53036" y="0"/>
                  </a:lnTo>
                  <a:cubicBezTo>
                    <a:pt x="23643" y="0"/>
                    <a:pt x="0" y="25536"/>
                    <a:pt x="0" y="56817"/>
                  </a:cubicBezTo>
                  <a:lnTo>
                    <a:pt x="0" y="67670"/>
                  </a:lnTo>
                  <a:cubicBezTo>
                    <a:pt x="0" y="71501"/>
                    <a:pt x="2556" y="74054"/>
                    <a:pt x="6390" y="74054"/>
                  </a:cubicBezTo>
                  <a:lnTo>
                    <a:pt x="136106" y="74054"/>
                  </a:lnTo>
                  <a:cubicBezTo>
                    <a:pt x="139940" y="74054"/>
                    <a:pt x="142496" y="71501"/>
                    <a:pt x="142496" y="67670"/>
                  </a:cubicBezTo>
                  <a:lnTo>
                    <a:pt x="142496" y="56817"/>
                  </a:lnTo>
                  <a:cubicBezTo>
                    <a:pt x="142496" y="25536"/>
                    <a:pt x="118214" y="0"/>
                    <a:pt x="88820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Graphic 4">
              <a:extLst>
                <a:ext uri="{FF2B5EF4-FFF2-40B4-BE49-F238E27FC236}">
                  <a16:creationId xmlns:a16="http://schemas.microsoft.com/office/drawing/2014/main" xmlns="" id="{0ED78E60-2BAF-044B-99BC-6A6306C61334}"/>
                </a:ext>
              </a:extLst>
            </p:cNvPr>
            <p:cNvSpPr/>
            <p:nvPr/>
          </p:nvSpPr>
          <p:spPr>
            <a:xfrm>
              <a:off x="608961" y="2951477"/>
              <a:ext cx="81791" cy="81714"/>
            </a:xfrm>
            <a:custGeom>
              <a:avLst/>
              <a:gdLst>
                <a:gd name="connsiteX0" fmla="*/ 81791 w 81791"/>
                <a:gd name="connsiteY0" fmla="*/ 40858 h 81714"/>
                <a:gd name="connsiteX1" fmla="*/ 40896 w 81791"/>
                <a:gd name="connsiteY1" fmla="*/ 81715 h 81714"/>
                <a:gd name="connsiteX2" fmla="*/ 0 w 81791"/>
                <a:gd name="connsiteY2" fmla="*/ 40858 h 81714"/>
                <a:gd name="connsiteX3" fmla="*/ 40896 w 81791"/>
                <a:gd name="connsiteY3" fmla="*/ 0 h 81714"/>
                <a:gd name="connsiteX4" fmla="*/ 81791 w 81791"/>
                <a:gd name="connsiteY4" fmla="*/ 40858 h 8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91" h="81714">
                  <a:moveTo>
                    <a:pt x="81791" y="40858"/>
                  </a:moveTo>
                  <a:cubicBezTo>
                    <a:pt x="81791" y="63423"/>
                    <a:pt x="63482" y="81715"/>
                    <a:pt x="40896" y="81715"/>
                  </a:cubicBezTo>
                  <a:cubicBezTo>
                    <a:pt x="18310" y="81715"/>
                    <a:pt x="0" y="63422"/>
                    <a:pt x="0" y="40858"/>
                  </a:cubicBezTo>
                  <a:cubicBezTo>
                    <a:pt x="0" y="18292"/>
                    <a:pt x="18310" y="0"/>
                    <a:pt x="40896" y="0"/>
                  </a:cubicBezTo>
                  <a:cubicBezTo>
                    <a:pt x="63482" y="0"/>
                    <a:pt x="81791" y="18293"/>
                    <a:pt x="81791" y="4085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Graphic 4">
              <a:extLst>
                <a:ext uri="{FF2B5EF4-FFF2-40B4-BE49-F238E27FC236}">
                  <a16:creationId xmlns:a16="http://schemas.microsoft.com/office/drawing/2014/main" xmlns="" id="{0EEA5712-7466-4142-9544-3DFBB0DA93E7}"/>
                </a:ext>
              </a:extLst>
            </p:cNvPr>
            <p:cNvSpPr/>
            <p:nvPr/>
          </p:nvSpPr>
          <p:spPr>
            <a:xfrm>
              <a:off x="509277" y="3038299"/>
              <a:ext cx="76040" cy="63839"/>
            </a:xfrm>
            <a:custGeom>
              <a:avLst/>
              <a:gdLst>
                <a:gd name="connsiteX0" fmla="*/ 51119 w 76040"/>
                <a:gd name="connsiteY0" fmla="*/ 51072 h 63839"/>
                <a:gd name="connsiteX1" fmla="*/ 12780 w 76040"/>
                <a:gd name="connsiteY1" fmla="*/ 51072 h 63839"/>
                <a:gd name="connsiteX2" fmla="*/ 12780 w 76040"/>
                <a:gd name="connsiteY2" fmla="*/ 48518 h 63839"/>
                <a:gd name="connsiteX3" fmla="*/ 45369 w 76040"/>
                <a:gd name="connsiteY3" fmla="*/ 12768 h 63839"/>
                <a:gd name="connsiteX4" fmla="*/ 69650 w 76040"/>
                <a:gd name="connsiteY4" fmla="*/ 12768 h 63839"/>
                <a:gd name="connsiteX5" fmla="*/ 76040 w 76040"/>
                <a:gd name="connsiteY5" fmla="*/ 6384 h 63839"/>
                <a:gd name="connsiteX6" fmla="*/ 69650 w 76040"/>
                <a:gd name="connsiteY6" fmla="*/ 0 h 63839"/>
                <a:gd name="connsiteX7" fmla="*/ 45369 w 76040"/>
                <a:gd name="connsiteY7" fmla="*/ 0 h 63839"/>
                <a:gd name="connsiteX8" fmla="*/ 0 w 76040"/>
                <a:gd name="connsiteY8" fmla="*/ 48518 h 63839"/>
                <a:gd name="connsiteX9" fmla="*/ 0 w 76040"/>
                <a:gd name="connsiteY9" fmla="*/ 57456 h 63839"/>
                <a:gd name="connsiteX10" fmla="*/ 6390 w 76040"/>
                <a:gd name="connsiteY10" fmla="*/ 63840 h 63839"/>
                <a:gd name="connsiteX11" fmla="*/ 51119 w 76040"/>
                <a:gd name="connsiteY11" fmla="*/ 63840 h 63839"/>
                <a:gd name="connsiteX12" fmla="*/ 57509 w 76040"/>
                <a:gd name="connsiteY12" fmla="*/ 57456 h 63839"/>
                <a:gd name="connsiteX13" fmla="*/ 51119 w 76040"/>
                <a:gd name="connsiteY13" fmla="*/ 51072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040" h="63839">
                  <a:moveTo>
                    <a:pt x="51119" y="51072"/>
                  </a:moveTo>
                  <a:lnTo>
                    <a:pt x="12780" y="51072"/>
                  </a:lnTo>
                  <a:lnTo>
                    <a:pt x="12780" y="48518"/>
                  </a:lnTo>
                  <a:cubicBezTo>
                    <a:pt x="12780" y="28728"/>
                    <a:pt x="27477" y="12768"/>
                    <a:pt x="45369" y="12768"/>
                  </a:cubicBezTo>
                  <a:lnTo>
                    <a:pt x="69650" y="12768"/>
                  </a:lnTo>
                  <a:cubicBezTo>
                    <a:pt x="73484" y="12768"/>
                    <a:pt x="76040" y="10214"/>
                    <a:pt x="76040" y="6384"/>
                  </a:cubicBezTo>
                  <a:cubicBezTo>
                    <a:pt x="76040" y="2554"/>
                    <a:pt x="73484" y="0"/>
                    <a:pt x="69650" y="0"/>
                  </a:cubicBezTo>
                  <a:lnTo>
                    <a:pt x="45369" y="0"/>
                  </a:lnTo>
                  <a:cubicBezTo>
                    <a:pt x="20448" y="0"/>
                    <a:pt x="0" y="21706"/>
                    <a:pt x="0" y="48518"/>
                  </a:cubicBezTo>
                  <a:lnTo>
                    <a:pt x="0" y="57456"/>
                  </a:lnTo>
                  <a:cubicBezTo>
                    <a:pt x="0" y="61286"/>
                    <a:pt x="2556" y="63840"/>
                    <a:pt x="6390" y="63840"/>
                  </a:cubicBezTo>
                  <a:lnTo>
                    <a:pt x="51119" y="63840"/>
                  </a:lnTo>
                  <a:cubicBezTo>
                    <a:pt x="54954" y="63840"/>
                    <a:pt x="57509" y="61286"/>
                    <a:pt x="57509" y="57456"/>
                  </a:cubicBezTo>
                  <a:cubicBezTo>
                    <a:pt x="57509" y="53626"/>
                    <a:pt x="54954" y="51072"/>
                    <a:pt x="51119" y="5107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Graphic 4">
              <a:extLst>
                <a:ext uri="{FF2B5EF4-FFF2-40B4-BE49-F238E27FC236}">
                  <a16:creationId xmlns:a16="http://schemas.microsoft.com/office/drawing/2014/main" xmlns="" id="{89BF94B5-EA36-2642-819C-75770C9F88AD}"/>
                </a:ext>
              </a:extLst>
            </p:cNvPr>
            <p:cNvSpPr/>
            <p:nvPr/>
          </p:nvSpPr>
          <p:spPr>
            <a:xfrm>
              <a:off x="539949" y="2967437"/>
              <a:ext cx="61343" cy="61286"/>
            </a:xfrm>
            <a:custGeom>
              <a:avLst/>
              <a:gdLst>
                <a:gd name="connsiteX0" fmla="*/ 30672 w 61343"/>
                <a:gd name="connsiteY0" fmla="*/ 61286 h 61286"/>
                <a:gd name="connsiteX1" fmla="*/ 61343 w 61343"/>
                <a:gd name="connsiteY1" fmla="*/ 30643 h 61286"/>
                <a:gd name="connsiteX2" fmla="*/ 30672 w 61343"/>
                <a:gd name="connsiteY2" fmla="*/ 0 h 61286"/>
                <a:gd name="connsiteX3" fmla="*/ 0 w 61343"/>
                <a:gd name="connsiteY3" fmla="*/ 30643 h 61286"/>
                <a:gd name="connsiteX4" fmla="*/ 30672 w 61343"/>
                <a:gd name="connsiteY4" fmla="*/ 61286 h 61286"/>
                <a:gd name="connsiteX5" fmla="*/ 30672 w 61343"/>
                <a:gd name="connsiteY5" fmla="*/ 12130 h 61286"/>
                <a:gd name="connsiteX6" fmla="*/ 48564 w 61343"/>
                <a:gd name="connsiteY6" fmla="*/ 30005 h 61286"/>
                <a:gd name="connsiteX7" fmla="*/ 30672 w 61343"/>
                <a:gd name="connsiteY7" fmla="*/ 47880 h 61286"/>
                <a:gd name="connsiteX8" fmla="*/ 12780 w 61343"/>
                <a:gd name="connsiteY8" fmla="*/ 30005 h 61286"/>
                <a:gd name="connsiteX9" fmla="*/ 30672 w 61343"/>
                <a:gd name="connsiteY9" fmla="*/ 12130 h 6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43" h="61286">
                  <a:moveTo>
                    <a:pt x="30672" y="61286"/>
                  </a:moveTo>
                  <a:cubicBezTo>
                    <a:pt x="47925" y="61286"/>
                    <a:pt x="61343" y="47241"/>
                    <a:pt x="61343" y="30643"/>
                  </a:cubicBezTo>
                  <a:cubicBezTo>
                    <a:pt x="61343" y="14045"/>
                    <a:pt x="47286" y="0"/>
                    <a:pt x="30672" y="0"/>
                  </a:cubicBezTo>
                  <a:cubicBezTo>
                    <a:pt x="14058" y="0"/>
                    <a:pt x="0" y="14045"/>
                    <a:pt x="0" y="30643"/>
                  </a:cubicBezTo>
                  <a:cubicBezTo>
                    <a:pt x="0" y="47241"/>
                    <a:pt x="13419" y="61286"/>
                    <a:pt x="30672" y="61286"/>
                  </a:cubicBezTo>
                  <a:close/>
                  <a:moveTo>
                    <a:pt x="30672" y="12130"/>
                  </a:moveTo>
                  <a:cubicBezTo>
                    <a:pt x="40896" y="12130"/>
                    <a:pt x="48564" y="20429"/>
                    <a:pt x="48564" y="30005"/>
                  </a:cubicBezTo>
                  <a:cubicBezTo>
                    <a:pt x="48564" y="39581"/>
                    <a:pt x="40257" y="47880"/>
                    <a:pt x="30672" y="47880"/>
                  </a:cubicBezTo>
                  <a:cubicBezTo>
                    <a:pt x="21087" y="47880"/>
                    <a:pt x="12780" y="39581"/>
                    <a:pt x="12780" y="30005"/>
                  </a:cubicBezTo>
                  <a:cubicBezTo>
                    <a:pt x="12780" y="20429"/>
                    <a:pt x="20448" y="12130"/>
                    <a:pt x="30672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Graphic 4">
              <a:extLst>
                <a:ext uri="{FF2B5EF4-FFF2-40B4-BE49-F238E27FC236}">
                  <a16:creationId xmlns:a16="http://schemas.microsoft.com/office/drawing/2014/main" xmlns="" id="{3790E97B-96E1-E843-A8F8-0DF2F86294E8}"/>
                </a:ext>
              </a:extLst>
            </p:cNvPr>
            <p:cNvSpPr/>
            <p:nvPr/>
          </p:nvSpPr>
          <p:spPr>
            <a:xfrm>
              <a:off x="711200" y="3038299"/>
              <a:ext cx="76040" cy="63839"/>
            </a:xfrm>
            <a:custGeom>
              <a:avLst/>
              <a:gdLst>
                <a:gd name="connsiteX0" fmla="*/ 30672 w 76040"/>
                <a:gd name="connsiteY0" fmla="*/ 0 h 63839"/>
                <a:gd name="connsiteX1" fmla="*/ 6390 w 76040"/>
                <a:gd name="connsiteY1" fmla="*/ 0 h 63839"/>
                <a:gd name="connsiteX2" fmla="*/ 0 w 76040"/>
                <a:gd name="connsiteY2" fmla="*/ 6384 h 63839"/>
                <a:gd name="connsiteX3" fmla="*/ 6390 w 76040"/>
                <a:gd name="connsiteY3" fmla="*/ 12768 h 63839"/>
                <a:gd name="connsiteX4" fmla="*/ 30672 w 76040"/>
                <a:gd name="connsiteY4" fmla="*/ 12768 h 63839"/>
                <a:gd name="connsiteX5" fmla="*/ 63260 w 76040"/>
                <a:gd name="connsiteY5" fmla="*/ 48518 h 63839"/>
                <a:gd name="connsiteX6" fmla="*/ 63260 w 76040"/>
                <a:gd name="connsiteY6" fmla="*/ 51072 h 63839"/>
                <a:gd name="connsiteX7" fmla="*/ 24921 w 76040"/>
                <a:gd name="connsiteY7" fmla="*/ 51072 h 63839"/>
                <a:gd name="connsiteX8" fmla="*/ 18531 w 76040"/>
                <a:gd name="connsiteY8" fmla="*/ 57456 h 63839"/>
                <a:gd name="connsiteX9" fmla="*/ 24921 w 76040"/>
                <a:gd name="connsiteY9" fmla="*/ 63840 h 63839"/>
                <a:gd name="connsiteX10" fmla="*/ 69650 w 76040"/>
                <a:gd name="connsiteY10" fmla="*/ 63840 h 63839"/>
                <a:gd name="connsiteX11" fmla="*/ 76040 w 76040"/>
                <a:gd name="connsiteY11" fmla="*/ 57456 h 63839"/>
                <a:gd name="connsiteX12" fmla="*/ 76040 w 76040"/>
                <a:gd name="connsiteY12" fmla="*/ 48518 h 63839"/>
                <a:gd name="connsiteX13" fmla="*/ 30672 w 76040"/>
                <a:gd name="connsiteY13" fmla="*/ 0 h 6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040" h="63839">
                  <a:moveTo>
                    <a:pt x="3067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30672" y="12768"/>
                  </a:lnTo>
                  <a:cubicBezTo>
                    <a:pt x="48564" y="12768"/>
                    <a:pt x="63260" y="28728"/>
                    <a:pt x="63260" y="48518"/>
                  </a:cubicBezTo>
                  <a:lnTo>
                    <a:pt x="63260" y="51072"/>
                  </a:lnTo>
                  <a:lnTo>
                    <a:pt x="24921" y="51072"/>
                  </a:lnTo>
                  <a:cubicBezTo>
                    <a:pt x="21087" y="51072"/>
                    <a:pt x="18531" y="53626"/>
                    <a:pt x="18531" y="57456"/>
                  </a:cubicBezTo>
                  <a:cubicBezTo>
                    <a:pt x="18531" y="61286"/>
                    <a:pt x="21087" y="63840"/>
                    <a:pt x="24921" y="63840"/>
                  </a:cubicBezTo>
                  <a:lnTo>
                    <a:pt x="69650" y="63840"/>
                  </a:lnTo>
                  <a:cubicBezTo>
                    <a:pt x="73484" y="63840"/>
                    <a:pt x="76040" y="61286"/>
                    <a:pt x="76040" y="57456"/>
                  </a:cubicBezTo>
                  <a:lnTo>
                    <a:pt x="76040" y="48518"/>
                  </a:lnTo>
                  <a:cubicBezTo>
                    <a:pt x="76040" y="21706"/>
                    <a:pt x="55592" y="0"/>
                    <a:pt x="3067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Graphic 4">
              <a:extLst>
                <a:ext uri="{FF2B5EF4-FFF2-40B4-BE49-F238E27FC236}">
                  <a16:creationId xmlns:a16="http://schemas.microsoft.com/office/drawing/2014/main" xmlns="" id="{1F4050EF-2970-5F47-9B1F-F3ED564589FA}"/>
                </a:ext>
              </a:extLst>
            </p:cNvPr>
            <p:cNvSpPr/>
            <p:nvPr/>
          </p:nvSpPr>
          <p:spPr>
            <a:xfrm>
              <a:off x="698420" y="2967437"/>
              <a:ext cx="61343" cy="61286"/>
            </a:xfrm>
            <a:custGeom>
              <a:avLst/>
              <a:gdLst>
                <a:gd name="connsiteX0" fmla="*/ 30672 w 61343"/>
                <a:gd name="connsiteY0" fmla="*/ 61286 h 61286"/>
                <a:gd name="connsiteX1" fmla="*/ 61343 w 61343"/>
                <a:gd name="connsiteY1" fmla="*/ 30643 h 61286"/>
                <a:gd name="connsiteX2" fmla="*/ 30672 w 61343"/>
                <a:gd name="connsiteY2" fmla="*/ 0 h 61286"/>
                <a:gd name="connsiteX3" fmla="*/ 0 w 61343"/>
                <a:gd name="connsiteY3" fmla="*/ 30643 h 61286"/>
                <a:gd name="connsiteX4" fmla="*/ 30672 w 61343"/>
                <a:gd name="connsiteY4" fmla="*/ 61286 h 61286"/>
                <a:gd name="connsiteX5" fmla="*/ 30672 w 61343"/>
                <a:gd name="connsiteY5" fmla="*/ 12130 h 61286"/>
                <a:gd name="connsiteX6" fmla="*/ 48564 w 61343"/>
                <a:gd name="connsiteY6" fmla="*/ 30005 h 61286"/>
                <a:gd name="connsiteX7" fmla="*/ 30672 w 61343"/>
                <a:gd name="connsiteY7" fmla="*/ 47880 h 61286"/>
                <a:gd name="connsiteX8" fmla="*/ 12780 w 61343"/>
                <a:gd name="connsiteY8" fmla="*/ 30005 h 61286"/>
                <a:gd name="connsiteX9" fmla="*/ 30672 w 61343"/>
                <a:gd name="connsiteY9" fmla="*/ 12130 h 61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43" h="61286">
                  <a:moveTo>
                    <a:pt x="30672" y="61286"/>
                  </a:moveTo>
                  <a:cubicBezTo>
                    <a:pt x="47925" y="61286"/>
                    <a:pt x="61343" y="47241"/>
                    <a:pt x="61343" y="30643"/>
                  </a:cubicBezTo>
                  <a:cubicBezTo>
                    <a:pt x="61343" y="14045"/>
                    <a:pt x="47285" y="0"/>
                    <a:pt x="30672" y="0"/>
                  </a:cubicBezTo>
                  <a:cubicBezTo>
                    <a:pt x="14058" y="0"/>
                    <a:pt x="0" y="14045"/>
                    <a:pt x="0" y="30643"/>
                  </a:cubicBezTo>
                  <a:cubicBezTo>
                    <a:pt x="0" y="47241"/>
                    <a:pt x="13419" y="61286"/>
                    <a:pt x="30672" y="61286"/>
                  </a:cubicBezTo>
                  <a:close/>
                  <a:moveTo>
                    <a:pt x="30672" y="12130"/>
                  </a:moveTo>
                  <a:cubicBezTo>
                    <a:pt x="40896" y="12130"/>
                    <a:pt x="48564" y="20429"/>
                    <a:pt x="48564" y="30005"/>
                  </a:cubicBezTo>
                  <a:cubicBezTo>
                    <a:pt x="48564" y="39581"/>
                    <a:pt x="40257" y="47880"/>
                    <a:pt x="30672" y="47880"/>
                  </a:cubicBezTo>
                  <a:cubicBezTo>
                    <a:pt x="21087" y="47880"/>
                    <a:pt x="12780" y="39581"/>
                    <a:pt x="12780" y="30005"/>
                  </a:cubicBezTo>
                  <a:cubicBezTo>
                    <a:pt x="12780" y="20429"/>
                    <a:pt x="20448" y="12130"/>
                    <a:pt x="30672" y="1213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351410" y="2995728"/>
            <a:ext cx="540000" cy="540000"/>
            <a:chOff x="905454" y="2855717"/>
            <a:chExt cx="362309" cy="361971"/>
          </a:xfrm>
          <a:solidFill>
            <a:schemeClr val="accent1"/>
          </a:solidFill>
        </p:grpSpPr>
        <p:sp>
          <p:nvSpPr>
            <p:cNvPr id="66" name="Graphic 4">
              <a:extLst>
                <a:ext uri="{FF2B5EF4-FFF2-40B4-BE49-F238E27FC236}">
                  <a16:creationId xmlns:a16="http://schemas.microsoft.com/office/drawing/2014/main" xmlns="" id="{2532319A-E8EC-4349-ADD9-27ACDA936634}"/>
                </a:ext>
              </a:extLst>
            </p:cNvPr>
            <p:cNvSpPr/>
            <p:nvPr/>
          </p:nvSpPr>
          <p:spPr>
            <a:xfrm>
              <a:off x="1053061" y="2990419"/>
              <a:ext cx="66475" cy="93206"/>
            </a:xfrm>
            <a:custGeom>
              <a:avLst/>
              <a:gdLst>
                <a:gd name="connsiteX0" fmla="*/ 33867 w 66475"/>
                <a:gd name="connsiteY0" fmla="*/ 0 h 93206"/>
                <a:gd name="connsiteX1" fmla="*/ 33867 w 66475"/>
                <a:gd name="connsiteY1" fmla="*/ 0 h 93206"/>
                <a:gd name="connsiteX2" fmla="*/ 0 w 66475"/>
                <a:gd name="connsiteY2" fmla="*/ 33197 h 93206"/>
                <a:gd name="connsiteX3" fmla="*/ 4473 w 66475"/>
                <a:gd name="connsiteY3" fmla="*/ 49795 h 93206"/>
                <a:gd name="connsiteX4" fmla="*/ 33228 w 66475"/>
                <a:gd name="connsiteY4" fmla="*/ 93206 h 93206"/>
                <a:gd name="connsiteX5" fmla="*/ 61982 w 66475"/>
                <a:gd name="connsiteY5" fmla="*/ 49157 h 93206"/>
                <a:gd name="connsiteX6" fmla="*/ 66455 w 66475"/>
                <a:gd name="connsiteY6" fmla="*/ 32558 h 93206"/>
                <a:gd name="connsiteX7" fmla="*/ 33867 w 66475"/>
                <a:gd name="connsiteY7" fmla="*/ 0 h 93206"/>
                <a:gd name="connsiteX8" fmla="*/ 33867 w 66475"/>
                <a:gd name="connsiteY8" fmla="*/ 58094 h 93206"/>
                <a:gd name="connsiteX9" fmla="*/ 9585 w 66475"/>
                <a:gd name="connsiteY9" fmla="*/ 33835 h 93206"/>
                <a:gd name="connsiteX10" fmla="*/ 33867 w 66475"/>
                <a:gd name="connsiteY10" fmla="*/ 9576 h 93206"/>
                <a:gd name="connsiteX11" fmla="*/ 58148 w 66475"/>
                <a:gd name="connsiteY11" fmla="*/ 33835 h 93206"/>
                <a:gd name="connsiteX12" fmla="*/ 58148 w 66475"/>
                <a:gd name="connsiteY12" fmla="*/ 33835 h 93206"/>
                <a:gd name="connsiteX13" fmla="*/ 33867 w 66475"/>
                <a:gd name="connsiteY13" fmla="*/ 58094 h 93206"/>
                <a:gd name="connsiteX14" fmla="*/ 33867 w 66475"/>
                <a:gd name="connsiteY14" fmla="*/ 58094 h 93206"/>
                <a:gd name="connsiteX15" fmla="*/ 33867 w 66475"/>
                <a:gd name="connsiteY15" fmla="*/ 58094 h 9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475" h="93206">
                  <a:moveTo>
                    <a:pt x="33867" y="0"/>
                  </a:moveTo>
                  <a:lnTo>
                    <a:pt x="33867" y="0"/>
                  </a:lnTo>
                  <a:cubicBezTo>
                    <a:pt x="14697" y="0"/>
                    <a:pt x="0" y="15322"/>
                    <a:pt x="0" y="33197"/>
                  </a:cubicBezTo>
                  <a:cubicBezTo>
                    <a:pt x="0" y="38942"/>
                    <a:pt x="1278" y="44688"/>
                    <a:pt x="4473" y="49795"/>
                  </a:cubicBezTo>
                  <a:lnTo>
                    <a:pt x="33228" y="93206"/>
                  </a:lnTo>
                  <a:lnTo>
                    <a:pt x="61982" y="49157"/>
                  </a:lnTo>
                  <a:cubicBezTo>
                    <a:pt x="65177" y="44050"/>
                    <a:pt x="66455" y="38304"/>
                    <a:pt x="66455" y="32558"/>
                  </a:cubicBezTo>
                  <a:cubicBezTo>
                    <a:pt x="67094" y="15322"/>
                    <a:pt x="52397" y="0"/>
                    <a:pt x="33867" y="0"/>
                  </a:cubicBezTo>
                  <a:close/>
                  <a:moveTo>
                    <a:pt x="33867" y="58094"/>
                  </a:moveTo>
                  <a:cubicBezTo>
                    <a:pt x="20448" y="58094"/>
                    <a:pt x="9585" y="47242"/>
                    <a:pt x="9585" y="33835"/>
                  </a:cubicBezTo>
                  <a:cubicBezTo>
                    <a:pt x="9585" y="20429"/>
                    <a:pt x="20448" y="9576"/>
                    <a:pt x="33867" y="9576"/>
                  </a:cubicBezTo>
                  <a:cubicBezTo>
                    <a:pt x="47285" y="9576"/>
                    <a:pt x="58148" y="20429"/>
                    <a:pt x="58148" y="33835"/>
                  </a:cubicBezTo>
                  <a:lnTo>
                    <a:pt x="58148" y="33835"/>
                  </a:lnTo>
                  <a:cubicBezTo>
                    <a:pt x="58787" y="47242"/>
                    <a:pt x="47925" y="58094"/>
                    <a:pt x="33867" y="58094"/>
                  </a:cubicBezTo>
                  <a:cubicBezTo>
                    <a:pt x="33867" y="58094"/>
                    <a:pt x="33867" y="58094"/>
                    <a:pt x="33867" y="58094"/>
                  </a:cubicBezTo>
                  <a:lnTo>
                    <a:pt x="33867" y="5809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xmlns="" id="{5E1420A6-EE75-CE46-B088-1DF5C123DBF3}"/>
                </a:ext>
              </a:extLst>
            </p:cNvPr>
            <p:cNvSpPr/>
            <p:nvPr/>
          </p:nvSpPr>
          <p:spPr>
            <a:xfrm>
              <a:off x="1075426" y="3012125"/>
              <a:ext cx="23003" cy="22982"/>
            </a:xfrm>
            <a:custGeom>
              <a:avLst/>
              <a:gdLst>
                <a:gd name="connsiteX0" fmla="*/ 11502 w 23003"/>
                <a:gd name="connsiteY0" fmla="*/ 0 h 22982"/>
                <a:gd name="connsiteX1" fmla="*/ 0 w 23003"/>
                <a:gd name="connsiteY1" fmla="*/ 11491 h 22982"/>
                <a:gd name="connsiteX2" fmla="*/ 11502 w 23003"/>
                <a:gd name="connsiteY2" fmla="*/ 22982 h 22982"/>
                <a:gd name="connsiteX3" fmla="*/ 23004 w 23003"/>
                <a:gd name="connsiteY3" fmla="*/ 11491 h 22982"/>
                <a:gd name="connsiteX4" fmla="*/ 23004 w 23003"/>
                <a:gd name="connsiteY4" fmla="*/ 11491 h 22982"/>
                <a:gd name="connsiteX5" fmla="*/ 11502 w 23003"/>
                <a:gd name="connsiteY5" fmla="*/ 0 h 2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03" h="22982">
                  <a:moveTo>
                    <a:pt x="11502" y="0"/>
                  </a:moveTo>
                  <a:cubicBezTo>
                    <a:pt x="5112" y="0"/>
                    <a:pt x="0" y="5107"/>
                    <a:pt x="0" y="11491"/>
                  </a:cubicBezTo>
                  <a:cubicBezTo>
                    <a:pt x="0" y="17875"/>
                    <a:pt x="5112" y="22982"/>
                    <a:pt x="11502" y="22982"/>
                  </a:cubicBezTo>
                  <a:cubicBezTo>
                    <a:pt x="17892" y="22982"/>
                    <a:pt x="23004" y="17875"/>
                    <a:pt x="23004" y="11491"/>
                  </a:cubicBezTo>
                  <a:lnTo>
                    <a:pt x="23004" y="11491"/>
                  </a:lnTo>
                  <a:cubicBezTo>
                    <a:pt x="23004" y="5107"/>
                    <a:pt x="17892" y="0"/>
                    <a:pt x="11502" y="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xmlns="" id="{4054E55C-74EA-F545-9AA9-2A522C00F927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09 w 362309"/>
                <a:gd name="connsiteY3" fmla="*/ 180667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01922 w 362309"/>
                <a:gd name="connsiteY6" fmla="*/ 84268 h 361971"/>
                <a:gd name="connsiteX7" fmla="*/ 270294 w 362309"/>
                <a:gd name="connsiteY7" fmla="*/ 84268 h 361971"/>
                <a:gd name="connsiteX8" fmla="*/ 276684 w 362309"/>
                <a:gd name="connsiteY8" fmla="*/ 90652 h 361971"/>
                <a:gd name="connsiteX9" fmla="*/ 276684 w 362309"/>
                <a:gd name="connsiteY9" fmla="*/ 158961 h 361971"/>
                <a:gd name="connsiteX10" fmla="*/ 270294 w 362309"/>
                <a:gd name="connsiteY10" fmla="*/ 165345 h 361971"/>
                <a:gd name="connsiteX11" fmla="*/ 263904 w 362309"/>
                <a:gd name="connsiteY11" fmla="*/ 158961 h 361971"/>
                <a:gd name="connsiteX12" fmla="*/ 263904 w 362309"/>
                <a:gd name="connsiteY12" fmla="*/ 97036 h 361971"/>
                <a:gd name="connsiteX13" fmla="*/ 201922 w 362309"/>
                <a:gd name="connsiteY13" fmla="*/ 97036 h 361971"/>
                <a:gd name="connsiteX14" fmla="*/ 195532 w 362309"/>
                <a:gd name="connsiteY14" fmla="*/ 90652 h 361971"/>
                <a:gd name="connsiteX15" fmla="*/ 201922 w 362309"/>
                <a:gd name="connsiteY15" fmla="*/ 84268 h 361971"/>
                <a:gd name="connsiteX16" fmla="*/ 174445 w 362309"/>
                <a:gd name="connsiteY16" fmla="*/ 65755 h 361971"/>
                <a:gd name="connsiteX17" fmla="*/ 180835 w 362309"/>
                <a:gd name="connsiteY17" fmla="*/ 59371 h 361971"/>
                <a:gd name="connsiteX18" fmla="*/ 187225 w 362309"/>
                <a:gd name="connsiteY18" fmla="*/ 65755 h 361971"/>
                <a:gd name="connsiteX19" fmla="*/ 187225 w 362309"/>
                <a:gd name="connsiteY19" fmla="*/ 97675 h 361971"/>
                <a:gd name="connsiteX20" fmla="*/ 180835 w 362309"/>
                <a:gd name="connsiteY20" fmla="*/ 104059 h 361971"/>
                <a:gd name="connsiteX21" fmla="*/ 174445 w 362309"/>
                <a:gd name="connsiteY21" fmla="*/ 97675 h 361971"/>
                <a:gd name="connsiteX22" fmla="*/ 174445 w 362309"/>
                <a:gd name="connsiteY22" fmla="*/ 65755 h 361971"/>
                <a:gd name="connsiteX23" fmla="*/ 84986 w 362309"/>
                <a:gd name="connsiteY23" fmla="*/ 91291 h 361971"/>
                <a:gd name="connsiteX24" fmla="*/ 91376 w 362309"/>
                <a:gd name="connsiteY24" fmla="*/ 84907 h 361971"/>
                <a:gd name="connsiteX25" fmla="*/ 159748 w 362309"/>
                <a:gd name="connsiteY25" fmla="*/ 84907 h 361971"/>
                <a:gd name="connsiteX26" fmla="*/ 166138 w 362309"/>
                <a:gd name="connsiteY26" fmla="*/ 91291 h 361971"/>
                <a:gd name="connsiteX27" fmla="*/ 159748 w 362309"/>
                <a:gd name="connsiteY27" fmla="*/ 97675 h 361971"/>
                <a:gd name="connsiteX28" fmla="*/ 97766 w 362309"/>
                <a:gd name="connsiteY28" fmla="*/ 97675 h 361971"/>
                <a:gd name="connsiteX29" fmla="*/ 97766 w 362309"/>
                <a:gd name="connsiteY29" fmla="*/ 159600 h 361971"/>
                <a:gd name="connsiteX30" fmla="*/ 91376 w 362309"/>
                <a:gd name="connsiteY30" fmla="*/ 165984 h 361971"/>
                <a:gd name="connsiteX31" fmla="*/ 84986 w 362309"/>
                <a:gd name="connsiteY31" fmla="*/ 159600 h 361971"/>
                <a:gd name="connsiteX32" fmla="*/ 84986 w 362309"/>
                <a:gd name="connsiteY32" fmla="*/ 91291 h 361971"/>
                <a:gd name="connsiteX33" fmla="*/ 60065 w 362309"/>
                <a:gd name="connsiteY33" fmla="*/ 180667 h 361971"/>
                <a:gd name="connsiteX34" fmla="*/ 66455 w 362309"/>
                <a:gd name="connsiteY34" fmla="*/ 174283 h 361971"/>
                <a:gd name="connsiteX35" fmla="*/ 98405 w 362309"/>
                <a:gd name="connsiteY35" fmla="*/ 174283 h 361971"/>
                <a:gd name="connsiteX36" fmla="*/ 104795 w 362309"/>
                <a:gd name="connsiteY36" fmla="*/ 180667 h 361971"/>
                <a:gd name="connsiteX37" fmla="*/ 98405 w 362309"/>
                <a:gd name="connsiteY37" fmla="*/ 187051 h 361971"/>
                <a:gd name="connsiteX38" fmla="*/ 66455 w 362309"/>
                <a:gd name="connsiteY38" fmla="*/ 187051 h 361971"/>
                <a:gd name="connsiteX39" fmla="*/ 60065 w 362309"/>
                <a:gd name="connsiteY39" fmla="*/ 180667 h 361971"/>
                <a:gd name="connsiteX40" fmla="*/ 159748 w 362309"/>
                <a:gd name="connsiteY40" fmla="*/ 276426 h 361971"/>
                <a:gd name="connsiteX41" fmla="*/ 91376 w 362309"/>
                <a:gd name="connsiteY41" fmla="*/ 276426 h 361971"/>
                <a:gd name="connsiteX42" fmla="*/ 84986 w 362309"/>
                <a:gd name="connsiteY42" fmla="*/ 270042 h 361971"/>
                <a:gd name="connsiteX43" fmla="*/ 84986 w 362309"/>
                <a:gd name="connsiteY43" fmla="*/ 201734 h 361971"/>
                <a:gd name="connsiteX44" fmla="*/ 91376 w 362309"/>
                <a:gd name="connsiteY44" fmla="*/ 195350 h 361971"/>
                <a:gd name="connsiteX45" fmla="*/ 97766 w 362309"/>
                <a:gd name="connsiteY45" fmla="*/ 201734 h 361971"/>
                <a:gd name="connsiteX46" fmla="*/ 97766 w 362309"/>
                <a:gd name="connsiteY46" fmla="*/ 263658 h 361971"/>
                <a:gd name="connsiteX47" fmla="*/ 159748 w 362309"/>
                <a:gd name="connsiteY47" fmla="*/ 263658 h 361971"/>
                <a:gd name="connsiteX48" fmla="*/ 166138 w 362309"/>
                <a:gd name="connsiteY48" fmla="*/ 270042 h 361971"/>
                <a:gd name="connsiteX49" fmla="*/ 159748 w 362309"/>
                <a:gd name="connsiteY49" fmla="*/ 276426 h 361971"/>
                <a:gd name="connsiteX50" fmla="*/ 159748 w 362309"/>
                <a:gd name="connsiteY50" fmla="*/ 276426 h 361971"/>
                <a:gd name="connsiteX51" fmla="*/ 188503 w 362309"/>
                <a:gd name="connsiteY51" fmla="*/ 296217 h 361971"/>
                <a:gd name="connsiteX52" fmla="*/ 182113 w 362309"/>
                <a:gd name="connsiteY52" fmla="*/ 302601 h 361971"/>
                <a:gd name="connsiteX53" fmla="*/ 175723 w 362309"/>
                <a:gd name="connsiteY53" fmla="*/ 296217 h 361971"/>
                <a:gd name="connsiteX54" fmla="*/ 175723 w 362309"/>
                <a:gd name="connsiteY54" fmla="*/ 264297 h 361971"/>
                <a:gd name="connsiteX55" fmla="*/ 182113 w 362309"/>
                <a:gd name="connsiteY55" fmla="*/ 257913 h 361971"/>
                <a:gd name="connsiteX56" fmla="*/ 188503 w 362309"/>
                <a:gd name="connsiteY56" fmla="*/ 264297 h 361971"/>
                <a:gd name="connsiteX57" fmla="*/ 188503 w 362309"/>
                <a:gd name="connsiteY57" fmla="*/ 296217 h 361971"/>
                <a:gd name="connsiteX58" fmla="*/ 182113 w 362309"/>
                <a:gd name="connsiteY58" fmla="*/ 243230 h 361971"/>
                <a:gd name="connsiteX59" fmla="*/ 182113 w 362309"/>
                <a:gd name="connsiteY59" fmla="*/ 243230 h 361971"/>
                <a:gd name="connsiteX60" fmla="*/ 173806 w 362309"/>
                <a:gd name="connsiteY60" fmla="*/ 238761 h 361971"/>
                <a:gd name="connsiteX61" fmla="*/ 142496 w 362309"/>
                <a:gd name="connsiteY61" fmla="*/ 191519 h 361971"/>
                <a:gd name="connsiteX62" fmla="*/ 136106 w 362309"/>
                <a:gd name="connsiteY62" fmla="*/ 167899 h 361971"/>
                <a:gd name="connsiteX63" fmla="*/ 182113 w 362309"/>
                <a:gd name="connsiteY63" fmla="*/ 121934 h 361971"/>
                <a:gd name="connsiteX64" fmla="*/ 182113 w 362309"/>
                <a:gd name="connsiteY64" fmla="*/ 121934 h 361971"/>
                <a:gd name="connsiteX65" fmla="*/ 228121 w 362309"/>
                <a:gd name="connsiteY65" fmla="*/ 167899 h 361971"/>
                <a:gd name="connsiteX66" fmla="*/ 221731 w 362309"/>
                <a:gd name="connsiteY66" fmla="*/ 190881 h 361971"/>
                <a:gd name="connsiteX67" fmla="*/ 190420 w 362309"/>
                <a:gd name="connsiteY67" fmla="*/ 238122 h 361971"/>
                <a:gd name="connsiteX68" fmla="*/ 182113 w 362309"/>
                <a:gd name="connsiteY68" fmla="*/ 243230 h 361971"/>
                <a:gd name="connsiteX69" fmla="*/ 182113 w 362309"/>
                <a:gd name="connsiteY69" fmla="*/ 243230 h 361971"/>
                <a:gd name="connsiteX70" fmla="*/ 277323 w 362309"/>
                <a:gd name="connsiteY70" fmla="*/ 270042 h 361971"/>
                <a:gd name="connsiteX71" fmla="*/ 270933 w 362309"/>
                <a:gd name="connsiteY71" fmla="*/ 276426 h 361971"/>
                <a:gd name="connsiteX72" fmla="*/ 202561 w 362309"/>
                <a:gd name="connsiteY72" fmla="*/ 276426 h 361971"/>
                <a:gd name="connsiteX73" fmla="*/ 196171 w 362309"/>
                <a:gd name="connsiteY73" fmla="*/ 270042 h 361971"/>
                <a:gd name="connsiteX74" fmla="*/ 202561 w 362309"/>
                <a:gd name="connsiteY74" fmla="*/ 263658 h 361971"/>
                <a:gd name="connsiteX75" fmla="*/ 264543 w 362309"/>
                <a:gd name="connsiteY75" fmla="*/ 263658 h 361971"/>
                <a:gd name="connsiteX76" fmla="*/ 264543 w 362309"/>
                <a:gd name="connsiteY76" fmla="*/ 201734 h 361971"/>
                <a:gd name="connsiteX77" fmla="*/ 270933 w 362309"/>
                <a:gd name="connsiteY77" fmla="*/ 195350 h 361971"/>
                <a:gd name="connsiteX78" fmla="*/ 277323 w 362309"/>
                <a:gd name="connsiteY78" fmla="*/ 201734 h 361971"/>
                <a:gd name="connsiteX79" fmla="*/ 277323 w 362309"/>
                <a:gd name="connsiteY79" fmla="*/ 270042 h 361971"/>
                <a:gd name="connsiteX80" fmla="*/ 295854 w 362309"/>
                <a:gd name="connsiteY80" fmla="*/ 187051 h 361971"/>
                <a:gd name="connsiteX81" fmla="*/ 263904 w 362309"/>
                <a:gd name="connsiteY81" fmla="*/ 187051 h 361971"/>
                <a:gd name="connsiteX82" fmla="*/ 257514 w 362309"/>
                <a:gd name="connsiteY82" fmla="*/ 180667 h 361971"/>
                <a:gd name="connsiteX83" fmla="*/ 263904 w 362309"/>
                <a:gd name="connsiteY83" fmla="*/ 174283 h 361971"/>
                <a:gd name="connsiteX84" fmla="*/ 295854 w 362309"/>
                <a:gd name="connsiteY84" fmla="*/ 174283 h 361971"/>
                <a:gd name="connsiteX85" fmla="*/ 302244 w 362309"/>
                <a:gd name="connsiteY85" fmla="*/ 180667 h 361971"/>
                <a:gd name="connsiteX86" fmla="*/ 295854 w 362309"/>
                <a:gd name="connsiteY86" fmla="*/ 187051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01922" y="84268"/>
                  </a:moveTo>
                  <a:lnTo>
                    <a:pt x="270294" y="84268"/>
                  </a:lnTo>
                  <a:cubicBezTo>
                    <a:pt x="274128" y="84268"/>
                    <a:pt x="276684" y="86822"/>
                    <a:pt x="276684" y="90652"/>
                  </a:cubicBezTo>
                  <a:lnTo>
                    <a:pt x="276684" y="158961"/>
                  </a:lnTo>
                  <a:cubicBezTo>
                    <a:pt x="276684" y="162792"/>
                    <a:pt x="274128" y="165345"/>
                    <a:pt x="270294" y="165345"/>
                  </a:cubicBezTo>
                  <a:cubicBezTo>
                    <a:pt x="266460" y="165345"/>
                    <a:pt x="263904" y="162792"/>
                    <a:pt x="263904" y="158961"/>
                  </a:cubicBezTo>
                  <a:lnTo>
                    <a:pt x="263904" y="97036"/>
                  </a:lnTo>
                  <a:lnTo>
                    <a:pt x="201922" y="97036"/>
                  </a:lnTo>
                  <a:cubicBezTo>
                    <a:pt x="198088" y="97036"/>
                    <a:pt x="195532" y="94483"/>
                    <a:pt x="195532" y="90652"/>
                  </a:cubicBezTo>
                  <a:cubicBezTo>
                    <a:pt x="195532" y="86822"/>
                    <a:pt x="198088" y="84268"/>
                    <a:pt x="201922" y="84268"/>
                  </a:cubicBezTo>
                  <a:close/>
                  <a:moveTo>
                    <a:pt x="174445" y="65755"/>
                  </a:moveTo>
                  <a:cubicBezTo>
                    <a:pt x="174445" y="61925"/>
                    <a:pt x="177001" y="59371"/>
                    <a:pt x="180835" y="59371"/>
                  </a:cubicBezTo>
                  <a:cubicBezTo>
                    <a:pt x="184669" y="59371"/>
                    <a:pt x="187225" y="61925"/>
                    <a:pt x="187225" y="65755"/>
                  </a:cubicBezTo>
                  <a:lnTo>
                    <a:pt x="187225" y="97675"/>
                  </a:lnTo>
                  <a:cubicBezTo>
                    <a:pt x="187225" y="101505"/>
                    <a:pt x="184669" y="104059"/>
                    <a:pt x="180835" y="104059"/>
                  </a:cubicBezTo>
                  <a:cubicBezTo>
                    <a:pt x="177001" y="104059"/>
                    <a:pt x="174445" y="101505"/>
                    <a:pt x="174445" y="97675"/>
                  </a:cubicBezTo>
                  <a:lnTo>
                    <a:pt x="174445" y="65755"/>
                  </a:lnTo>
                  <a:close/>
                  <a:moveTo>
                    <a:pt x="84986" y="91291"/>
                  </a:moveTo>
                  <a:cubicBezTo>
                    <a:pt x="84986" y="87460"/>
                    <a:pt x="87542" y="84907"/>
                    <a:pt x="91376" y="84907"/>
                  </a:cubicBezTo>
                  <a:lnTo>
                    <a:pt x="159748" y="84907"/>
                  </a:lnTo>
                  <a:cubicBezTo>
                    <a:pt x="163582" y="84907"/>
                    <a:pt x="166138" y="87460"/>
                    <a:pt x="166138" y="91291"/>
                  </a:cubicBezTo>
                  <a:cubicBezTo>
                    <a:pt x="166138" y="95121"/>
                    <a:pt x="163582" y="97675"/>
                    <a:pt x="159748" y="97675"/>
                  </a:cubicBezTo>
                  <a:lnTo>
                    <a:pt x="97766" y="97675"/>
                  </a:lnTo>
                  <a:lnTo>
                    <a:pt x="97766" y="159600"/>
                  </a:lnTo>
                  <a:cubicBezTo>
                    <a:pt x="97766" y="163430"/>
                    <a:pt x="95210" y="165984"/>
                    <a:pt x="91376" y="165984"/>
                  </a:cubicBezTo>
                  <a:cubicBezTo>
                    <a:pt x="87542" y="165984"/>
                    <a:pt x="84986" y="163430"/>
                    <a:pt x="84986" y="159600"/>
                  </a:cubicBezTo>
                  <a:lnTo>
                    <a:pt x="84986" y="91291"/>
                  </a:lnTo>
                  <a:close/>
                  <a:moveTo>
                    <a:pt x="60065" y="180667"/>
                  </a:moveTo>
                  <a:cubicBezTo>
                    <a:pt x="60065" y="176836"/>
                    <a:pt x="62621" y="174283"/>
                    <a:pt x="66455" y="174283"/>
                  </a:cubicBezTo>
                  <a:lnTo>
                    <a:pt x="98405" y="174283"/>
                  </a:lnTo>
                  <a:cubicBezTo>
                    <a:pt x="102239" y="174283"/>
                    <a:pt x="104795" y="176836"/>
                    <a:pt x="104795" y="180667"/>
                  </a:cubicBezTo>
                  <a:cubicBezTo>
                    <a:pt x="104795" y="184497"/>
                    <a:pt x="102239" y="187051"/>
                    <a:pt x="98405" y="187051"/>
                  </a:cubicBezTo>
                  <a:lnTo>
                    <a:pt x="66455" y="187051"/>
                  </a:lnTo>
                  <a:cubicBezTo>
                    <a:pt x="63260" y="187051"/>
                    <a:pt x="60065" y="184497"/>
                    <a:pt x="60065" y="180667"/>
                  </a:cubicBezTo>
                  <a:close/>
                  <a:moveTo>
                    <a:pt x="159748" y="276426"/>
                  </a:moveTo>
                  <a:lnTo>
                    <a:pt x="91376" y="276426"/>
                  </a:lnTo>
                  <a:cubicBezTo>
                    <a:pt x="87542" y="276426"/>
                    <a:pt x="84986" y="273873"/>
                    <a:pt x="84986" y="270042"/>
                  </a:cubicBezTo>
                  <a:lnTo>
                    <a:pt x="84986" y="201734"/>
                  </a:lnTo>
                  <a:cubicBezTo>
                    <a:pt x="84986" y="197903"/>
                    <a:pt x="87542" y="195350"/>
                    <a:pt x="91376" y="195350"/>
                  </a:cubicBezTo>
                  <a:cubicBezTo>
                    <a:pt x="95210" y="195350"/>
                    <a:pt x="97766" y="197903"/>
                    <a:pt x="97766" y="201734"/>
                  </a:cubicBezTo>
                  <a:lnTo>
                    <a:pt x="97766" y="263658"/>
                  </a:lnTo>
                  <a:lnTo>
                    <a:pt x="159748" y="263658"/>
                  </a:lnTo>
                  <a:cubicBezTo>
                    <a:pt x="163582" y="263658"/>
                    <a:pt x="166138" y="266212"/>
                    <a:pt x="166138" y="270042"/>
                  </a:cubicBezTo>
                  <a:cubicBezTo>
                    <a:pt x="166138" y="273873"/>
                    <a:pt x="163582" y="276426"/>
                    <a:pt x="159748" y="276426"/>
                  </a:cubicBezTo>
                  <a:lnTo>
                    <a:pt x="159748" y="276426"/>
                  </a:lnTo>
                  <a:close/>
                  <a:moveTo>
                    <a:pt x="188503" y="296217"/>
                  </a:moveTo>
                  <a:cubicBezTo>
                    <a:pt x="188503" y="300047"/>
                    <a:pt x="185947" y="302601"/>
                    <a:pt x="182113" y="302601"/>
                  </a:cubicBezTo>
                  <a:cubicBezTo>
                    <a:pt x="178279" y="302601"/>
                    <a:pt x="175723" y="300047"/>
                    <a:pt x="175723" y="296217"/>
                  </a:cubicBezTo>
                  <a:lnTo>
                    <a:pt x="175723" y="264297"/>
                  </a:lnTo>
                  <a:cubicBezTo>
                    <a:pt x="175723" y="260466"/>
                    <a:pt x="178279" y="257913"/>
                    <a:pt x="182113" y="257913"/>
                  </a:cubicBezTo>
                  <a:cubicBezTo>
                    <a:pt x="185947" y="257913"/>
                    <a:pt x="188503" y="260466"/>
                    <a:pt x="188503" y="264297"/>
                  </a:cubicBezTo>
                  <a:lnTo>
                    <a:pt x="188503" y="296217"/>
                  </a:lnTo>
                  <a:close/>
                  <a:moveTo>
                    <a:pt x="182113" y="243230"/>
                  </a:moveTo>
                  <a:lnTo>
                    <a:pt x="182113" y="243230"/>
                  </a:lnTo>
                  <a:cubicBezTo>
                    <a:pt x="178918" y="243230"/>
                    <a:pt x="175723" y="241314"/>
                    <a:pt x="173806" y="238761"/>
                  </a:cubicBezTo>
                  <a:lnTo>
                    <a:pt x="142496" y="191519"/>
                  </a:lnTo>
                  <a:cubicBezTo>
                    <a:pt x="138023" y="184497"/>
                    <a:pt x="136106" y="176198"/>
                    <a:pt x="136106" y="167899"/>
                  </a:cubicBezTo>
                  <a:cubicBezTo>
                    <a:pt x="136106" y="142363"/>
                    <a:pt x="156553" y="121934"/>
                    <a:pt x="182113" y="121934"/>
                  </a:cubicBezTo>
                  <a:lnTo>
                    <a:pt x="182113" y="121934"/>
                  </a:lnTo>
                  <a:cubicBezTo>
                    <a:pt x="207673" y="121934"/>
                    <a:pt x="228121" y="142363"/>
                    <a:pt x="228121" y="167899"/>
                  </a:cubicBezTo>
                  <a:cubicBezTo>
                    <a:pt x="228121" y="176198"/>
                    <a:pt x="226204" y="183859"/>
                    <a:pt x="221731" y="190881"/>
                  </a:cubicBezTo>
                  <a:lnTo>
                    <a:pt x="190420" y="238122"/>
                  </a:lnTo>
                  <a:cubicBezTo>
                    <a:pt x="188503" y="241953"/>
                    <a:pt x="185308" y="243230"/>
                    <a:pt x="182113" y="243230"/>
                  </a:cubicBezTo>
                  <a:lnTo>
                    <a:pt x="182113" y="243230"/>
                  </a:lnTo>
                  <a:close/>
                  <a:moveTo>
                    <a:pt x="277323" y="270042"/>
                  </a:moveTo>
                  <a:cubicBezTo>
                    <a:pt x="277323" y="273873"/>
                    <a:pt x="274767" y="276426"/>
                    <a:pt x="270933" y="276426"/>
                  </a:cubicBezTo>
                  <a:lnTo>
                    <a:pt x="202561" y="276426"/>
                  </a:lnTo>
                  <a:cubicBezTo>
                    <a:pt x="198727" y="276426"/>
                    <a:pt x="196171" y="273873"/>
                    <a:pt x="196171" y="270042"/>
                  </a:cubicBezTo>
                  <a:cubicBezTo>
                    <a:pt x="196171" y="266212"/>
                    <a:pt x="198727" y="263658"/>
                    <a:pt x="202561" y="263658"/>
                  </a:cubicBezTo>
                  <a:lnTo>
                    <a:pt x="264543" y="263658"/>
                  </a:lnTo>
                  <a:lnTo>
                    <a:pt x="264543" y="201734"/>
                  </a:lnTo>
                  <a:cubicBezTo>
                    <a:pt x="264543" y="197903"/>
                    <a:pt x="267099" y="195350"/>
                    <a:pt x="270933" y="195350"/>
                  </a:cubicBezTo>
                  <a:cubicBezTo>
                    <a:pt x="274767" y="195350"/>
                    <a:pt x="277323" y="197903"/>
                    <a:pt x="277323" y="201734"/>
                  </a:cubicBezTo>
                  <a:lnTo>
                    <a:pt x="277323" y="270042"/>
                  </a:lnTo>
                  <a:close/>
                  <a:moveTo>
                    <a:pt x="295854" y="187051"/>
                  </a:moveTo>
                  <a:lnTo>
                    <a:pt x="263904" y="187051"/>
                  </a:lnTo>
                  <a:cubicBezTo>
                    <a:pt x="260070" y="187051"/>
                    <a:pt x="257514" y="184497"/>
                    <a:pt x="257514" y="180667"/>
                  </a:cubicBezTo>
                  <a:cubicBezTo>
                    <a:pt x="257514" y="176836"/>
                    <a:pt x="260070" y="174283"/>
                    <a:pt x="263904" y="174283"/>
                  </a:cubicBezTo>
                  <a:lnTo>
                    <a:pt x="295854" y="174283"/>
                  </a:lnTo>
                  <a:cubicBezTo>
                    <a:pt x="299688" y="174283"/>
                    <a:pt x="302244" y="176836"/>
                    <a:pt x="302244" y="180667"/>
                  </a:cubicBezTo>
                  <a:cubicBezTo>
                    <a:pt x="302244" y="184497"/>
                    <a:pt x="299688" y="187051"/>
                    <a:pt x="295854" y="18705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94" name="Graphic 4">
            <a:extLst>
              <a:ext uri="{FF2B5EF4-FFF2-40B4-BE49-F238E27FC236}">
                <a16:creationId xmlns:a16="http://schemas.microsoft.com/office/drawing/2014/main" xmlns="" id="{EBFA0405-80B4-F44D-9ADD-5AE53C7A1CDA}"/>
              </a:ext>
            </a:extLst>
          </p:cNvPr>
          <p:cNvGrpSpPr/>
          <p:nvPr/>
        </p:nvGrpSpPr>
        <p:grpSpPr>
          <a:xfrm>
            <a:off x="4685243" y="383046"/>
            <a:ext cx="720000" cy="720000"/>
            <a:chOff x="6753524" y="918179"/>
            <a:chExt cx="361674" cy="361971"/>
          </a:xfrm>
          <a:solidFill>
            <a:schemeClr val="accent1"/>
          </a:solidFill>
        </p:grpSpPr>
        <p:sp>
          <p:nvSpPr>
            <p:cNvPr id="95" name="Graphic 4">
              <a:extLst>
                <a:ext uri="{FF2B5EF4-FFF2-40B4-BE49-F238E27FC236}">
                  <a16:creationId xmlns:a16="http://schemas.microsoft.com/office/drawing/2014/main" xmlns="" id="{36FE4066-0B12-4549-BC96-C0CE45902E15}"/>
                </a:ext>
              </a:extLst>
            </p:cNvPr>
            <p:cNvSpPr/>
            <p:nvPr/>
          </p:nvSpPr>
          <p:spPr>
            <a:xfrm>
              <a:off x="6753524" y="918179"/>
              <a:ext cx="361674" cy="361971"/>
            </a:xfrm>
            <a:custGeom>
              <a:avLst/>
              <a:gdLst>
                <a:gd name="connsiteX0" fmla="*/ 180835 w 361674"/>
                <a:gd name="connsiteY0" fmla="*/ 0 h 361971"/>
                <a:gd name="connsiteX1" fmla="*/ 0 w 361674"/>
                <a:gd name="connsiteY1" fmla="*/ 180667 h 361971"/>
                <a:gd name="connsiteX2" fmla="*/ 180835 w 361674"/>
                <a:gd name="connsiteY2" fmla="*/ 361972 h 361971"/>
                <a:gd name="connsiteX3" fmla="*/ 361670 w 361674"/>
                <a:gd name="connsiteY3" fmla="*/ 181305 h 361971"/>
                <a:gd name="connsiteX4" fmla="*/ 361670 w 361674"/>
                <a:gd name="connsiteY4" fmla="*/ 181305 h 361971"/>
                <a:gd name="connsiteX5" fmla="*/ 180835 w 361674"/>
                <a:gd name="connsiteY5" fmla="*/ 0 h 361971"/>
                <a:gd name="connsiteX6" fmla="*/ 180835 w 361674"/>
                <a:gd name="connsiteY6" fmla="*/ 0 h 361971"/>
                <a:gd name="connsiteX7" fmla="*/ 180835 w 361674"/>
                <a:gd name="connsiteY7" fmla="*/ 349204 h 361971"/>
                <a:gd name="connsiteX8" fmla="*/ 12780 w 361674"/>
                <a:gd name="connsiteY8" fmla="*/ 181305 h 361971"/>
                <a:gd name="connsiteX9" fmla="*/ 180835 w 361674"/>
                <a:gd name="connsiteY9" fmla="*/ 12768 h 361971"/>
                <a:gd name="connsiteX10" fmla="*/ 348890 w 361674"/>
                <a:gd name="connsiteY10" fmla="*/ 180667 h 361971"/>
                <a:gd name="connsiteX11" fmla="*/ 348890 w 361674"/>
                <a:gd name="connsiteY11" fmla="*/ 180667 h 361971"/>
                <a:gd name="connsiteX12" fmla="*/ 180835 w 361674"/>
                <a:gd name="connsiteY12" fmla="*/ 349204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1674" h="361971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972"/>
                    <a:pt x="180835" y="361972"/>
                  </a:cubicBezTo>
                  <a:cubicBezTo>
                    <a:pt x="281157" y="361972"/>
                    <a:pt x="361670" y="280895"/>
                    <a:pt x="361670" y="181305"/>
                  </a:cubicBezTo>
                  <a:lnTo>
                    <a:pt x="361670" y="181305"/>
                  </a:lnTo>
                  <a:cubicBezTo>
                    <a:pt x="362309" y="81077"/>
                    <a:pt x="281157" y="0"/>
                    <a:pt x="180835" y="0"/>
                  </a:cubicBezTo>
                  <a:cubicBezTo>
                    <a:pt x="181474" y="0"/>
                    <a:pt x="181474" y="0"/>
                    <a:pt x="180835" y="0"/>
                  </a:cubicBezTo>
                  <a:close/>
                  <a:moveTo>
                    <a:pt x="180835" y="349204"/>
                  </a:moveTo>
                  <a:cubicBezTo>
                    <a:pt x="87542" y="349204"/>
                    <a:pt x="12780" y="273873"/>
                    <a:pt x="12780" y="181305"/>
                  </a:cubicBezTo>
                  <a:cubicBezTo>
                    <a:pt x="12780" y="88099"/>
                    <a:pt x="88181" y="12768"/>
                    <a:pt x="180835" y="12768"/>
                  </a:cubicBezTo>
                  <a:cubicBezTo>
                    <a:pt x="274128" y="12768"/>
                    <a:pt x="348890" y="88099"/>
                    <a:pt x="348890" y="180667"/>
                  </a:cubicBezTo>
                  <a:lnTo>
                    <a:pt x="348890" y="180667"/>
                  </a:lnTo>
                  <a:cubicBezTo>
                    <a:pt x="349529" y="273873"/>
                    <a:pt x="274128" y="349204"/>
                    <a:pt x="180835" y="34920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Graphic 4">
              <a:extLst>
                <a:ext uri="{FF2B5EF4-FFF2-40B4-BE49-F238E27FC236}">
                  <a16:creationId xmlns:a16="http://schemas.microsoft.com/office/drawing/2014/main" xmlns="" id="{596181FE-0FFF-6847-AF5A-8B75BF1A31D2}"/>
                </a:ext>
              </a:extLst>
            </p:cNvPr>
            <p:cNvSpPr/>
            <p:nvPr/>
          </p:nvSpPr>
          <p:spPr>
            <a:xfrm>
              <a:off x="6920301" y="1021599"/>
              <a:ext cx="33227" cy="33196"/>
            </a:xfrm>
            <a:custGeom>
              <a:avLst/>
              <a:gdLst>
                <a:gd name="connsiteX0" fmla="*/ 26837 w 33227"/>
                <a:gd name="connsiteY0" fmla="*/ 0 h 33196"/>
                <a:gd name="connsiteX1" fmla="*/ 6390 w 33227"/>
                <a:gd name="connsiteY1" fmla="*/ 0 h 33196"/>
                <a:gd name="connsiteX2" fmla="*/ 0 w 33227"/>
                <a:gd name="connsiteY2" fmla="*/ 6384 h 33196"/>
                <a:gd name="connsiteX3" fmla="*/ 0 w 33227"/>
                <a:gd name="connsiteY3" fmla="*/ 26813 h 33196"/>
                <a:gd name="connsiteX4" fmla="*/ 6390 w 33227"/>
                <a:gd name="connsiteY4" fmla="*/ 33197 h 33196"/>
                <a:gd name="connsiteX5" fmla="*/ 26837 w 33227"/>
                <a:gd name="connsiteY5" fmla="*/ 33197 h 33196"/>
                <a:gd name="connsiteX6" fmla="*/ 33227 w 33227"/>
                <a:gd name="connsiteY6" fmla="*/ 26813 h 33196"/>
                <a:gd name="connsiteX7" fmla="*/ 33227 w 33227"/>
                <a:gd name="connsiteY7" fmla="*/ 6384 h 33196"/>
                <a:gd name="connsiteX8" fmla="*/ 26837 w 33227"/>
                <a:gd name="connsiteY8" fmla="*/ 0 h 33196"/>
                <a:gd name="connsiteX9" fmla="*/ 26837 w 33227"/>
                <a:gd name="connsiteY9" fmla="*/ 0 h 33196"/>
                <a:gd name="connsiteX10" fmla="*/ 20447 w 33227"/>
                <a:gd name="connsiteY10" fmla="*/ 20429 h 33196"/>
                <a:gd name="connsiteX11" fmla="*/ 12780 w 33227"/>
                <a:gd name="connsiteY11" fmla="*/ 20429 h 33196"/>
                <a:gd name="connsiteX12" fmla="*/ 12780 w 33227"/>
                <a:gd name="connsiteY12" fmla="*/ 12768 h 33196"/>
                <a:gd name="connsiteX13" fmla="*/ 20447 w 33227"/>
                <a:gd name="connsiteY13" fmla="*/ 12768 h 33196"/>
                <a:gd name="connsiteX14" fmla="*/ 20447 w 33227"/>
                <a:gd name="connsiteY14" fmla="*/ 2042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227" h="33196">
                  <a:moveTo>
                    <a:pt x="26837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26813"/>
                  </a:lnTo>
                  <a:cubicBezTo>
                    <a:pt x="0" y="30643"/>
                    <a:pt x="2556" y="33197"/>
                    <a:pt x="6390" y="33197"/>
                  </a:cubicBezTo>
                  <a:lnTo>
                    <a:pt x="26837" y="33197"/>
                  </a:lnTo>
                  <a:cubicBezTo>
                    <a:pt x="30672" y="33197"/>
                    <a:pt x="33227" y="30643"/>
                    <a:pt x="33227" y="26813"/>
                  </a:cubicBezTo>
                  <a:lnTo>
                    <a:pt x="33227" y="6384"/>
                  </a:lnTo>
                  <a:cubicBezTo>
                    <a:pt x="33227" y="2554"/>
                    <a:pt x="30032" y="0"/>
                    <a:pt x="26837" y="0"/>
                  </a:cubicBezTo>
                  <a:cubicBezTo>
                    <a:pt x="26837" y="0"/>
                    <a:pt x="26837" y="0"/>
                    <a:pt x="26837" y="0"/>
                  </a:cubicBezTo>
                  <a:close/>
                  <a:moveTo>
                    <a:pt x="20447" y="20429"/>
                  </a:moveTo>
                  <a:lnTo>
                    <a:pt x="12780" y="20429"/>
                  </a:lnTo>
                  <a:lnTo>
                    <a:pt x="12780" y="12768"/>
                  </a:lnTo>
                  <a:lnTo>
                    <a:pt x="20447" y="12768"/>
                  </a:lnTo>
                  <a:lnTo>
                    <a:pt x="20447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Graphic 4">
              <a:extLst>
                <a:ext uri="{FF2B5EF4-FFF2-40B4-BE49-F238E27FC236}">
                  <a16:creationId xmlns:a16="http://schemas.microsoft.com/office/drawing/2014/main" xmlns="" id="{28174715-7AB6-CF40-B32A-F7E160741BCC}"/>
                </a:ext>
              </a:extLst>
            </p:cNvPr>
            <p:cNvSpPr/>
            <p:nvPr/>
          </p:nvSpPr>
          <p:spPr>
            <a:xfrm>
              <a:off x="6965031" y="1021599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Graphic 4">
              <a:extLst>
                <a:ext uri="{FF2B5EF4-FFF2-40B4-BE49-F238E27FC236}">
                  <a16:creationId xmlns:a16="http://schemas.microsoft.com/office/drawing/2014/main" xmlns="" id="{BCFD82DA-32C2-E24F-875A-84E42F27A344}"/>
                </a:ext>
              </a:extLst>
            </p:cNvPr>
            <p:cNvSpPr/>
            <p:nvPr/>
          </p:nvSpPr>
          <p:spPr>
            <a:xfrm>
              <a:off x="6965031" y="1042028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Graphic 4">
              <a:extLst>
                <a:ext uri="{FF2B5EF4-FFF2-40B4-BE49-F238E27FC236}">
                  <a16:creationId xmlns:a16="http://schemas.microsoft.com/office/drawing/2014/main" xmlns="" id="{63384BBA-F2B9-4D46-976C-F103795E7C65}"/>
                </a:ext>
              </a:extLst>
            </p:cNvPr>
            <p:cNvSpPr/>
            <p:nvPr/>
          </p:nvSpPr>
          <p:spPr>
            <a:xfrm>
              <a:off x="6920301" y="1073948"/>
              <a:ext cx="33227" cy="33196"/>
            </a:xfrm>
            <a:custGeom>
              <a:avLst/>
              <a:gdLst>
                <a:gd name="connsiteX0" fmla="*/ 26837 w 33227"/>
                <a:gd name="connsiteY0" fmla="*/ 0 h 33196"/>
                <a:gd name="connsiteX1" fmla="*/ 6390 w 33227"/>
                <a:gd name="connsiteY1" fmla="*/ 0 h 33196"/>
                <a:gd name="connsiteX2" fmla="*/ 0 w 33227"/>
                <a:gd name="connsiteY2" fmla="*/ 6384 h 33196"/>
                <a:gd name="connsiteX3" fmla="*/ 0 w 33227"/>
                <a:gd name="connsiteY3" fmla="*/ 26813 h 33196"/>
                <a:gd name="connsiteX4" fmla="*/ 6390 w 33227"/>
                <a:gd name="connsiteY4" fmla="*/ 33197 h 33196"/>
                <a:gd name="connsiteX5" fmla="*/ 26837 w 33227"/>
                <a:gd name="connsiteY5" fmla="*/ 33197 h 33196"/>
                <a:gd name="connsiteX6" fmla="*/ 33227 w 33227"/>
                <a:gd name="connsiteY6" fmla="*/ 26813 h 33196"/>
                <a:gd name="connsiteX7" fmla="*/ 33227 w 33227"/>
                <a:gd name="connsiteY7" fmla="*/ 6384 h 33196"/>
                <a:gd name="connsiteX8" fmla="*/ 26837 w 33227"/>
                <a:gd name="connsiteY8" fmla="*/ 0 h 33196"/>
                <a:gd name="connsiteX9" fmla="*/ 26837 w 33227"/>
                <a:gd name="connsiteY9" fmla="*/ 0 h 33196"/>
                <a:gd name="connsiteX10" fmla="*/ 20447 w 33227"/>
                <a:gd name="connsiteY10" fmla="*/ 20429 h 33196"/>
                <a:gd name="connsiteX11" fmla="*/ 12780 w 33227"/>
                <a:gd name="connsiteY11" fmla="*/ 20429 h 33196"/>
                <a:gd name="connsiteX12" fmla="*/ 12780 w 33227"/>
                <a:gd name="connsiteY12" fmla="*/ 12768 h 33196"/>
                <a:gd name="connsiteX13" fmla="*/ 20447 w 33227"/>
                <a:gd name="connsiteY13" fmla="*/ 12768 h 33196"/>
                <a:gd name="connsiteX14" fmla="*/ 20447 w 33227"/>
                <a:gd name="connsiteY14" fmla="*/ 2042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227" h="33196">
                  <a:moveTo>
                    <a:pt x="26837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lnTo>
                    <a:pt x="0" y="26813"/>
                  </a:lnTo>
                  <a:cubicBezTo>
                    <a:pt x="0" y="30643"/>
                    <a:pt x="2556" y="33197"/>
                    <a:pt x="6390" y="33197"/>
                  </a:cubicBezTo>
                  <a:lnTo>
                    <a:pt x="26837" y="33197"/>
                  </a:lnTo>
                  <a:cubicBezTo>
                    <a:pt x="30672" y="33197"/>
                    <a:pt x="33227" y="30643"/>
                    <a:pt x="33227" y="26813"/>
                  </a:cubicBezTo>
                  <a:lnTo>
                    <a:pt x="33227" y="6384"/>
                  </a:lnTo>
                  <a:cubicBezTo>
                    <a:pt x="33227" y="3192"/>
                    <a:pt x="30032" y="0"/>
                    <a:pt x="26837" y="0"/>
                  </a:cubicBezTo>
                  <a:cubicBezTo>
                    <a:pt x="26837" y="0"/>
                    <a:pt x="26837" y="0"/>
                    <a:pt x="26837" y="0"/>
                  </a:cubicBezTo>
                  <a:close/>
                  <a:moveTo>
                    <a:pt x="20447" y="20429"/>
                  </a:moveTo>
                  <a:lnTo>
                    <a:pt x="12780" y="20429"/>
                  </a:lnTo>
                  <a:lnTo>
                    <a:pt x="12780" y="12768"/>
                  </a:lnTo>
                  <a:lnTo>
                    <a:pt x="20447" y="12768"/>
                  </a:lnTo>
                  <a:lnTo>
                    <a:pt x="20447" y="2042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Graphic 4">
              <a:extLst>
                <a:ext uri="{FF2B5EF4-FFF2-40B4-BE49-F238E27FC236}">
                  <a16:creationId xmlns:a16="http://schemas.microsoft.com/office/drawing/2014/main" xmlns="" id="{2FF16FC5-3AFB-604E-9F4E-69D88800E467}"/>
                </a:ext>
              </a:extLst>
            </p:cNvPr>
            <p:cNvSpPr/>
            <p:nvPr/>
          </p:nvSpPr>
          <p:spPr>
            <a:xfrm>
              <a:off x="6965031" y="1073948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Graphic 4">
              <a:extLst>
                <a:ext uri="{FF2B5EF4-FFF2-40B4-BE49-F238E27FC236}">
                  <a16:creationId xmlns:a16="http://schemas.microsoft.com/office/drawing/2014/main" xmlns="" id="{1F12814F-1050-1C42-B37E-239FE3A31C00}"/>
                </a:ext>
              </a:extLst>
            </p:cNvPr>
            <p:cNvSpPr/>
            <p:nvPr/>
          </p:nvSpPr>
          <p:spPr>
            <a:xfrm>
              <a:off x="6965031" y="1094377"/>
              <a:ext cx="81791" cy="12767"/>
            </a:xfrm>
            <a:custGeom>
              <a:avLst/>
              <a:gdLst>
                <a:gd name="connsiteX0" fmla="*/ 75402 w 81791"/>
                <a:gd name="connsiteY0" fmla="*/ 0 h 12767"/>
                <a:gd name="connsiteX1" fmla="*/ 6390 w 81791"/>
                <a:gd name="connsiteY1" fmla="*/ 0 h 12767"/>
                <a:gd name="connsiteX2" fmla="*/ 0 w 81791"/>
                <a:gd name="connsiteY2" fmla="*/ 6384 h 12767"/>
                <a:gd name="connsiteX3" fmla="*/ 6390 w 81791"/>
                <a:gd name="connsiteY3" fmla="*/ 12768 h 12767"/>
                <a:gd name="connsiteX4" fmla="*/ 75402 w 81791"/>
                <a:gd name="connsiteY4" fmla="*/ 12768 h 12767"/>
                <a:gd name="connsiteX5" fmla="*/ 81792 w 81791"/>
                <a:gd name="connsiteY5" fmla="*/ 6384 h 12767"/>
                <a:gd name="connsiteX6" fmla="*/ 75402 w 81791"/>
                <a:gd name="connsiteY6" fmla="*/ 0 h 12767"/>
                <a:gd name="connsiteX7" fmla="*/ 75402 w 81791"/>
                <a:gd name="connsiteY7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91" h="12767">
                  <a:moveTo>
                    <a:pt x="75402" y="0"/>
                  </a:moveTo>
                  <a:lnTo>
                    <a:pt x="6390" y="0"/>
                  </a:lnTo>
                  <a:cubicBezTo>
                    <a:pt x="2556" y="0"/>
                    <a:pt x="0" y="2554"/>
                    <a:pt x="0" y="6384"/>
                  </a:cubicBezTo>
                  <a:cubicBezTo>
                    <a:pt x="0" y="10214"/>
                    <a:pt x="2556" y="12768"/>
                    <a:pt x="6390" y="12768"/>
                  </a:cubicBezTo>
                  <a:lnTo>
                    <a:pt x="75402" y="12768"/>
                  </a:lnTo>
                  <a:cubicBezTo>
                    <a:pt x="79235" y="12768"/>
                    <a:pt x="81792" y="10214"/>
                    <a:pt x="81792" y="6384"/>
                  </a:cubicBezTo>
                  <a:cubicBezTo>
                    <a:pt x="81792" y="2554"/>
                    <a:pt x="79235" y="0"/>
                    <a:pt x="75402" y="0"/>
                  </a:cubicBezTo>
                  <a:lnTo>
                    <a:pt x="75402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Graphic 4">
              <a:extLst>
                <a:ext uri="{FF2B5EF4-FFF2-40B4-BE49-F238E27FC236}">
                  <a16:creationId xmlns:a16="http://schemas.microsoft.com/office/drawing/2014/main" xmlns="" id="{044E847C-605B-1E42-9CD1-EF7325A3C679}"/>
                </a:ext>
              </a:extLst>
            </p:cNvPr>
            <p:cNvSpPr/>
            <p:nvPr/>
          </p:nvSpPr>
          <p:spPr>
            <a:xfrm>
              <a:off x="6822535" y="1106506"/>
              <a:ext cx="112173" cy="69585"/>
            </a:xfrm>
            <a:custGeom>
              <a:avLst/>
              <a:gdLst>
                <a:gd name="connsiteX0" fmla="*/ 98405 w 112173"/>
                <a:gd name="connsiteY0" fmla="*/ 2554 h 69585"/>
                <a:gd name="connsiteX1" fmla="*/ 95210 w 112173"/>
                <a:gd name="connsiteY1" fmla="*/ 3192 h 69585"/>
                <a:gd name="connsiteX2" fmla="*/ 83709 w 112173"/>
                <a:gd name="connsiteY2" fmla="*/ 13406 h 69585"/>
                <a:gd name="connsiteX3" fmla="*/ 77958 w 112173"/>
                <a:gd name="connsiteY3" fmla="*/ 28728 h 69585"/>
                <a:gd name="connsiteX4" fmla="*/ 77958 w 112173"/>
                <a:gd name="connsiteY4" fmla="*/ 26813 h 69585"/>
                <a:gd name="connsiteX5" fmla="*/ 51759 w 112173"/>
                <a:gd name="connsiteY5" fmla="*/ 0 h 69585"/>
                <a:gd name="connsiteX6" fmla="*/ 51119 w 112173"/>
                <a:gd name="connsiteY6" fmla="*/ 0 h 69585"/>
                <a:gd name="connsiteX7" fmla="*/ 26838 w 112173"/>
                <a:gd name="connsiteY7" fmla="*/ 0 h 69585"/>
                <a:gd name="connsiteX8" fmla="*/ 0 w 112173"/>
                <a:gd name="connsiteY8" fmla="*/ 26174 h 69585"/>
                <a:gd name="connsiteX9" fmla="*/ 0 w 112173"/>
                <a:gd name="connsiteY9" fmla="*/ 26813 h 69585"/>
                <a:gd name="connsiteX10" fmla="*/ 0 w 112173"/>
                <a:gd name="connsiteY10" fmla="*/ 63201 h 69585"/>
                <a:gd name="connsiteX11" fmla="*/ 6390 w 112173"/>
                <a:gd name="connsiteY11" fmla="*/ 69585 h 69585"/>
                <a:gd name="connsiteX12" fmla="*/ 12780 w 112173"/>
                <a:gd name="connsiteY12" fmla="*/ 63201 h 69585"/>
                <a:gd name="connsiteX13" fmla="*/ 12780 w 112173"/>
                <a:gd name="connsiteY13" fmla="*/ 26813 h 69585"/>
                <a:gd name="connsiteX14" fmla="*/ 26199 w 112173"/>
                <a:gd name="connsiteY14" fmla="*/ 12768 h 69585"/>
                <a:gd name="connsiteX15" fmla="*/ 26199 w 112173"/>
                <a:gd name="connsiteY15" fmla="*/ 12768 h 69585"/>
                <a:gd name="connsiteX16" fmla="*/ 50481 w 112173"/>
                <a:gd name="connsiteY16" fmla="*/ 12768 h 69585"/>
                <a:gd name="connsiteX17" fmla="*/ 64539 w 112173"/>
                <a:gd name="connsiteY17" fmla="*/ 26174 h 69585"/>
                <a:gd name="connsiteX18" fmla="*/ 64539 w 112173"/>
                <a:gd name="connsiteY18" fmla="*/ 26813 h 69585"/>
                <a:gd name="connsiteX19" fmla="*/ 64539 w 112173"/>
                <a:gd name="connsiteY19" fmla="*/ 63201 h 69585"/>
                <a:gd name="connsiteX20" fmla="*/ 70929 w 112173"/>
                <a:gd name="connsiteY20" fmla="*/ 69585 h 69585"/>
                <a:gd name="connsiteX21" fmla="*/ 76679 w 112173"/>
                <a:gd name="connsiteY21" fmla="*/ 65755 h 69585"/>
                <a:gd name="connsiteX22" fmla="*/ 88181 w 112173"/>
                <a:gd name="connsiteY22" fmla="*/ 36389 h 69585"/>
                <a:gd name="connsiteX23" fmla="*/ 81153 w 112173"/>
                <a:gd name="connsiteY23" fmla="*/ 61925 h 69585"/>
                <a:gd name="connsiteX24" fmla="*/ 85625 w 112173"/>
                <a:gd name="connsiteY24" fmla="*/ 69585 h 69585"/>
                <a:gd name="connsiteX25" fmla="*/ 87543 w 112173"/>
                <a:gd name="connsiteY25" fmla="*/ 69585 h 69585"/>
                <a:gd name="connsiteX26" fmla="*/ 93933 w 112173"/>
                <a:gd name="connsiteY26" fmla="*/ 65117 h 69585"/>
                <a:gd name="connsiteX27" fmla="*/ 105434 w 112173"/>
                <a:gd name="connsiteY27" fmla="*/ 22344 h 69585"/>
                <a:gd name="connsiteX28" fmla="*/ 108629 w 112173"/>
                <a:gd name="connsiteY28" fmla="*/ 19790 h 69585"/>
                <a:gd name="connsiteX29" fmla="*/ 109907 w 112173"/>
                <a:gd name="connsiteY29" fmla="*/ 18514 h 69585"/>
                <a:gd name="connsiteX30" fmla="*/ 110546 w 112173"/>
                <a:gd name="connsiteY30" fmla="*/ 7022 h 69585"/>
                <a:gd name="connsiteX31" fmla="*/ 98405 w 112173"/>
                <a:gd name="connsiteY31" fmla="*/ 2554 h 6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2173" h="69585">
                  <a:moveTo>
                    <a:pt x="98405" y="2554"/>
                  </a:moveTo>
                  <a:lnTo>
                    <a:pt x="95210" y="3192"/>
                  </a:lnTo>
                  <a:cubicBezTo>
                    <a:pt x="90099" y="4469"/>
                    <a:pt x="85625" y="8299"/>
                    <a:pt x="83709" y="13406"/>
                  </a:cubicBezTo>
                  <a:lnTo>
                    <a:pt x="77958" y="28728"/>
                  </a:lnTo>
                  <a:lnTo>
                    <a:pt x="77958" y="26813"/>
                  </a:lnTo>
                  <a:cubicBezTo>
                    <a:pt x="77958" y="12130"/>
                    <a:pt x="66456" y="0"/>
                    <a:pt x="51759" y="0"/>
                  </a:cubicBezTo>
                  <a:cubicBezTo>
                    <a:pt x="51759" y="0"/>
                    <a:pt x="51119" y="0"/>
                    <a:pt x="51119" y="0"/>
                  </a:cubicBezTo>
                  <a:lnTo>
                    <a:pt x="26838" y="0"/>
                  </a:lnTo>
                  <a:cubicBezTo>
                    <a:pt x="12141" y="0"/>
                    <a:pt x="0" y="11491"/>
                    <a:pt x="0" y="26174"/>
                  </a:cubicBezTo>
                  <a:cubicBezTo>
                    <a:pt x="0" y="26174"/>
                    <a:pt x="0" y="26813"/>
                    <a:pt x="0" y="26813"/>
                  </a:cubicBezTo>
                  <a:lnTo>
                    <a:pt x="0" y="63201"/>
                  </a:lnTo>
                  <a:cubicBezTo>
                    <a:pt x="0" y="67032"/>
                    <a:pt x="2556" y="69585"/>
                    <a:pt x="6390" y="69585"/>
                  </a:cubicBezTo>
                  <a:cubicBezTo>
                    <a:pt x="10225" y="69585"/>
                    <a:pt x="12780" y="67032"/>
                    <a:pt x="12780" y="63201"/>
                  </a:cubicBezTo>
                  <a:lnTo>
                    <a:pt x="12780" y="26813"/>
                  </a:lnTo>
                  <a:cubicBezTo>
                    <a:pt x="12780" y="19152"/>
                    <a:pt x="18531" y="12768"/>
                    <a:pt x="26199" y="12768"/>
                  </a:cubicBezTo>
                  <a:cubicBezTo>
                    <a:pt x="26199" y="12768"/>
                    <a:pt x="26199" y="12768"/>
                    <a:pt x="26199" y="12768"/>
                  </a:cubicBezTo>
                  <a:lnTo>
                    <a:pt x="50481" y="12768"/>
                  </a:lnTo>
                  <a:cubicBezTo>
                    <a:pt x="58149" y="12768"/>
                    <a:pt x="64539" y="18514"/>
                    <a:pt x="64539" y="26174"/>
                  </a:cubicBezTo>
                  <a:cubicBezTo>
                    <a:pt x="64539" y="26174"/>
                    <a:pt x="64539" y="26174"/>
                    <a:pt x="64539" y="26813"/>
                  </a:cubicBezTo>
                  <a:lnTo>
                    <a:pt x="64539" y="63201"/>
                  </a:lnTo>
                  <a:cubicBezTo>
                    <a:pt x="64539" y="67032"/>
                    <a:pt x="67734" y="69585"/>
                    <a:pt x="70929" y="69585"/>
                  </a:cubicBezTo>
                  <a:cubicBezTo>
                    <a:pt x="73484" y="69585"/>
                    <a:pt x="76040" y="67670"/>
                    <a:pt x="76679" y="65755"/>
                  </a:cubicBezTo>
                  <a:lnTo>
                    <a:pt x="88181" y="36389"/>
                  </a:lnTo>
                  <a:lnTo>
                    <a:pt x="81153" y="61925"/>
                  </a:lnTo>
                  <a:cubicBezTo>
                    <a:pt x="80514" y="65117"/>
                    <a:pt x="82430" y="68947"/>
                    <a:pt x="85625" y="69585"/>
                  </a:cubicBezTo>
                  <a:cubicBezTo>
                    <a:pt x="86264" y="69585"/>
                    <a:pt x="86904" y="69585"/>
                    <a:pt x="87543" y="69585"/>
                  </a:cubicBezTo>
                  <a:cubicBezTo>
                    <a:pt x="90738" y="69585"/>
                    <a:pt x="93294" y="67670"/>
                    <a:pt x="93933" y="65117"/>
                  </a:cubicBezTo>
                  <a:lnTo>
                    <a:pt x="105434" y="22344"/>
                  </a:lnTo>
                  <a:lnTo>
                    <a:pt x="108629" y="19790"/>
                  </a:lnTo>
                  <a:cubicBezTo>
                    <a:pt x="109269" y="19152"/>
                    <a:pt x="109907" y="19152"/>
                    <a:pt x="109907" y="18514"/>
                  </a:cubicBezTo>
                  <a:cubicBezTo>
                    <a:pt x="112464" y="15322"/>
                    <a:pt x="113102" y="10214"/>
                    <a:pt x="110546" y="7022"/>
                  </a:cubicBezTo>
                  <a:cubicBezTo>
                    <a:pt x="107990" y="3192"/>
                    <a:pt x="102879" y="1277"/>
                    <a:pt x="98405" y="255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Graphic 4">
              <a:extLst>
                <a:ext uri="{FF2B5EF4-FFF2-40B4-BE49-F238E27FC236}">
                  <a16:creationId xmlns:a16="http://schemas.microsoft.com/office/drawing/2014/main" xmlns="" id="{0E2C7A34-03FB-8F49-A6CA-26A0B37413C2}"/>
                </a:ext>
              </a:extLst>
            </p:cNvPr>
            <p:cNvSpPr/>
            <p:nvPr/>
          </p:nvSpPr>
          <p:spPr>
            <a:xfrm>
              <a:off x="6834676" y="1049689"/>
              <a:ext cx="53675" cy="53625"/>
            </a:xfrm>
            <a:custGeom>
              <a:avLst/>
              <a:gdLst>
                <a:gd name="connsiteX0" fmla="*/ 26838 w 53675"/>
                <a:gd name="connsiteY0" fmla="*/ 53625 h 53625"/>
                <a:gd name="connsiteX1" fmla="*/ 53676 w 53675"/>
                <a:gd name="connsiteY1" fmla="*/ 26813 h 53625"/>
                <a:gd name="connsiteX2" fmla="*/ 26838 w 53675"/>
                <a:gd name="connsiteY2" fmla="*/ 0 h 53625"/>
                <a:gd name="connsiteX3" fmla="*/ 0 w 53675"/>
                <a:gd name="connsiteY3" fmla="*/ 26813 h 53625"/>
                <a:gd name="connsiteX4" fmla="*/ 0 w 53675"/>
                <a:gd name="connsiteY4" fmla="*/ 26813 h 53625"/>
                <a:gd name="connsiteX5" fmla="*/ 26838 w 53675"/>
                <a:gd name="connsiteY5" fmla="*/ 53625 h 53625"/>
                <a:gd name="connsiteX6" fmla="*/ 26838 w 53675"/>
                <a:gd name="connsiteY6" fmla="*/ 12768 h 53625"/>
                <a:gd name="connsiteX7" fmla="*/ 40896 w 53675"/>
                <a:gd name="connsiteY7" fmla="*/ 26813 h 53625"/>
                <a:gd name="connsiteX8" fmla="*/ 26838 w 53675"/>
                <a:gd name="connsiteY8" fmla="*/ 40857 h 53625"/>
                <a:gd name="connsiteX9" fmla="*/ 12780 w 53675"/>
                <a:gd name="connsiteY9" fmla="*/ 26813 h 53625"/>
                <a:gd name="connsiteX10" fmla="*/ 12780 w 53675"/>
                <a:gd name="connsiteY10" fmla="*/ 26813 h 53625"/>
                <a:gd name="connsiteX11" fmla="*/ 26838 w 53675"/>
                <a:gd name="connsiteY11" fmla="*/ 12768 h 5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675" h="53625">
                  <a:moveTo>
                    <a:pt x="26838" y="53625"/>
                  </a:moveTo>
                  <a:cubicBezTo>
                    <a:pt x="41535" y="53625"/>
                    <a:pt x="53676" y="41496"/>
                    <a:pt x="53676" y="26813"/>
                  </a:cubicBezTo>
                  <a:cubicBezTo>
                    <a:pt x="53676" y="12130"/>
                    <a:pt x="41535" y="0"/>
                    <a:pt x="26838" y="0"/>
                  </a:cubicBezTo>
                  <a:cubicBezTo>
                    <a:pt x="12141" y="0"/>
                    <a:pt x="0" y="12130"/>
                    <a:pt x="0" y="26813"/>
                  </a:cubicBezTo>
                  <a:cubicBezTo>
                    <a:pt x="0" y="26813"/>
                    <a:pt x="0" y="26813"/>
                    <a:pt x="0" y="26813"/>
                  </a:cubicBezTo>
                  <a:cubicBezTo>
                    <a:pt x="0" y="41496"/>
                    <a:pt x="12141" y="53625"/>
                    <a:pt x="26838" y="53625"/>
                  </a:cubicBezTo>
                  <a:close/>
                  <a:moveTo>
                    <a:pt x="26838" y="12768"/>
                  </a:moveTo>
                  <a:cubicBezTo>
                    <a:pt x="34506" y="12768"/>
                    <a:pt x="40896" y="19152"/>
                    <a:pt x="40896" y="26813"/>
                  </a:cubicBezTo>
                  <a:cubicBezTo>
                    <a:pt x="40896" y="34473"/>
                    <a:pt x="34506" y="40857"/>
                    <a:pt x="26838" y="40857"/>
                  </a:cubicBezTo>
                  <a:cubicBezTo>
                    <a:pt x="19170" y="40857"/>
                    <a:pt x="12780" y="34473"/>
                    <a:pt x="12780" y="26813"/>
                  </a:cubicBezTo>
                  <a:cubicBezTo>
                    <a:pt x="12780" y="26813"/>
                    <a:pt x="12780" y="26813"/>
                    <a:pt x="12780" y="26813"/>
                  </a:cubicBezTo>
                  <a:cubicBezTo>
                    <a:pt x="12780" y="19152"/>
                    <a:pt x="19170" y="12768"/>
                    <a:pt x="26838" y="12768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5" name="Graphic 4">
            <a:extLst>
              <a:ext uri="{FF2B5EF4-FFF2-40B4-BE49-F238E27FC236}">
                <a16:creationId xmlns:a16="http://schemas.microsoft.com/office/drawing/2014/main" xmlns="" id="{C2037D8E-F752-6F40-8C15-AD686091101C}"/>
              </a:ext>
            </a:extLst>
          </p:cNvPr>
          <p:cNvGrpSpPr/>
          <p:nvPr/>
        </p:nvGrpSpPr>
        <p:grpSpPr>
          <a:xfrm>
            <a:off x="6192623" y="3632395"/>
            <a:ext cx="540000" cy="540000"/>
            <a:chOff x="2998797" y="1885352"/>
            <a:chExt cx="361670" cy="361333"/>
          </a:xfrm>
          <a:solidFill>
            <a:schemeClr val="accent1"/>
          </a:solidFill>
        </p:grpSpPr>
        <p:sp>
          <p:nvSpPr>
            <p:cNvPr id="76" name="Graphic 4">
              <a:extLst>
                <a:ext uri="{FF2B5EF4-FFF2-40B4-BE49-F238E27FC236}">
                  <a16:creationId xmlns:a16="http://schemas.microsoft.com/office/drawing/2014/main" xmlns="" id="{D151F669-663F-374C-91D9-89A43CF2F2DE}"/>
                </a:ext>
              </a:extLst>
            </p:cNvPr>
            <p:cNvSpPr/>
            <p:nvPr/>
          </p:nvSpPr>
          <p:spPr>
            <a:xfrm>
              <a:off x="3161740" y="2011755"/>
              <a:ext cx="34505" cy="31919"/>
            </a:xfrm>
            <a:custGeom>
              <a:avLst/>
              <a:gdLst>
                <a:gd name="connsiteX0" fmla="*/ 34506 w 34505"/>
                <a:gd name="connsiteY0" fmla="*/ 12130 h 31919"/>
                <a:gd name="connsiteX1" fmla="*/ 26199 w 34505"/>
                <a:gd name="connsiteY1" fmla="*/ 10853 h 31919"/>
                <a:gd name="connsiteX2" fmla="*/ 21087 w 34505"/>
                <a:gd name="connsiteY2" fmla="*/ 7661 h 31919"/>
                <a:gd name="connsiteX3" fmla="*/ 17253 w 34505"/>
                <a:gd name="connsiteY3" fmla="*/ 0 h 31919"/>
                <a:gd name="connsiteX4" fmla="*/ 13419 w 34505"/>
                <a:gd name="connsiteY4" fmla="*/ 7661 h 31919"/>
                <a:gd name="connsiteX5" fmla="*/ 8307 w 34505"/>
                <a:gd name="connsiteY5" fmla="*/ 10853 h 31919"/>
                <a:gd name="connsiteX6" fmla="*/ 0 w 34505"/>
                <a:gd name="connsiteY6" fmla="*/ 12130 h 31919"/>
                <a:gd name="connsiteX7" fmla="*/ 5751 w 34505"/>
                <a:gd name="connsiteY7" fmla="*/ 17875 h 31919"/>
                <a:gd name="connsiteX8" fmla="*/ 7668 w 34505"/>
                <a:gd name="connsiteY8" fmla="*/ 23621 h 31919"/>
                <a:gd name="connsiteX9" fmla="*/ 6390 w 34505"/>
                <a:gd name="connsiteY9" fmla="*/ 31920 h 31919"/>
                <a:gd name="connsiteX10" fmla="*/ 14058 w 34505"/>
                <a:gd name="connsiteY10" fmla="*/ 28089 h 31919"/>
                <a:gd name="connsiteX11" fmla="*/ 17253 w 34505"/>
                <a:gd name="connsiteY11" fmla="*/ 27451 h 31919"/>
                <a:gd name="connsiteX12" fmla="*/ 20448 w 34505"/>
                <a:gd name="connsiteY12" fmla="*/ 28089 h 31919"/>
                <a:gd name="connsiteX13" fmla="*/ 28116 w 34505"/>
                <a:gd name="connsiteY13" fmla="*/ 31920 h 31919"/>
                <a:gd name="connsiteX14" fmla="*/ 26838 w 34505"/>
                <a:gd name="connsiteY14" fmla="*/ 23621 h 31919"/>
                <a:gd name="connsiteX15" fmla="*/ 28755 w 34505"/>
                <a:gd name="connsiteY15" fmla="*/ 17875 h 31919"/>
                <a:gd name="connsiteX16" fmla="*/ 34506 w 34505"/>
                <a:gd name="connsiteY16" fmla="*/ 12130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34506" y="12130"/>
                  </a:moveTo>
                  <a:lnTo>
                    <a:pt x="26199" y="10853"/>
                  </a:lnTo>
                  <a:cubicBezTo>
                    <a:pt x="24282" y="10853"/>
                    <a:pt x="22365" y="8938"/>
                    <a:pt x="21087" y="7661"/>
                  </a:cubicBez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xmlns="" id="{A6C61031-6CE4-454F-9790-70EEB013A35D}"/>
                </a:ext>
              </a:extLst>
            </p:cNvPr>
            <p:cNvSpPr/>
            <p:nvPr/>
          </p:nvSpPr>
          <p:spPr>
            <a:xfrm>
              <a:off x="3209026" y="2092193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xmlns="" id="{B3E36C1D-090D-E946-B1B1-EA23CC214DA9}"/>
                </a:ext>
              </a:extLst>
            </p:cNvPr>
            <p:cNvSpPr/>
            <p:nvPr/>
          </p:nvSpPr>
          <p:spPr>
            <a:xfrm>
              <a:off x="3115733" y="2092193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Graphic 4">
              <a:extLst>
                <a:ext uri="{FF2B5EF4-FFF2-40B4-BE49-F238E27FC236}">
                  <a16:creationId xmlns:a16="http://schemas.microsoft.com/office/drawing/2014/main" xmlns="" id="{1D43CBB5-93D0-4243-8F21-AFF430FDB421}"/>
                </a:ext>
              </a:extLst>
            </p:cNvPr>
            <p:cNvSpPr/>
            <p:nvPr/>
          </p:nvSpPr>
          <p:spPr>
            <a:xfrm>
              <a:off x="2998797" y="1885352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1 w 361670"/>
                <a:gd name="connsiteY3" fmla="*/ 180667 h 361333"/>
                <a:gd name="connsiteX4" fmla="*/ 180835 w 361670"/>
                <a:gd name="connsiteY4" fmla="*/ 0 h 361333"/>
                <a:gd name="connsiteX5" fmla="*/ 71567 w 361670"/>
                <a:gd name="connsiteY5" fmla="*/ 175560 h 361333"/>
                <a:gd name="connsiteX6" fmla="*/ 68372 w 361670"/>
                <a:gd name="connsiteY6" fmla="*/ 176198 h 361333"/>
                <a:gd name="connsiteX7" fmla="*/ 64538 w 361670"/>
                <a:gd name="connsiteY7" fmla="*/ 174921 h 361333"/>
                <a:gd name="connsiteX8" fmla="*/ 61982 w 361670"/>
                <a:gd name="connsiteY8" fmla="*/ 168537 h 361333"/>
                <a:gd name="connsiteX9" fmla="*/ 65177 w 361670"/>
                <a:gd name="connsiteY9" fmla="*/ 150662 h 361333"/>
                <a:gd name="connsiteX10" fmla="*/ 52398 w 361670"/>
                <a:gd name="connsiteY10" fmla="*/ 137894 h 361333"/>
                <a:gd name="connsiteX11" fmla="*/ 50481 w 361670"/>
                <a:gd name="connsiteY11" fmla="*/ 131510 h 361333"/>
                <a:gd name="connsiteX12" fmla="*/ 55593 w 361670"/>
                <a:gd name="connsiteY12" fmla="*/ 127041 h 361333"/>
                <a:gd name="connsiteX13" fmla="*/ 73484 w 361670"/>
                <a:gd name="connsiteY13" fmla="*/ 124488 h 361333"/>
                <a:gd name="connsiteX14" fmla="*/ 81152 w 361670"/>
                <a:gd name="connsiteY14" fmla="*/ 108528 h 361333"/>
                <a:gd name="connsiteX15" fmla="*/ 92654 w 361670"/>
                <a:gd name="connsiteY15" fmla="*/ 108528 h 361333"/>
                <a:gd name="connsiteX16" fmla="*/ 100322 w 361670"/>
                <a:gd name="connsiteY16" fmla="*/ 124488 h 361333"/>
                <a:gd name="connsiteX17" fmla="*/ 118214 w 361670"/>
                <a:gd name="connsiteY17" fmla="*/ 127041 h 361333"/>
                <a:gd name="connsiteX18" fmla="*/ 123326 w 361670"/>
                <a:gd name="connsiteY18" fmla="*/ 131510 h 361333"/>
                <a:gd name="connsiteX19" fmla="*/ 121409 w 361670"/>
                <a:gd name="connsiteY19" fmla="*/ 137894 h 361333"/>
                <a:gd name="connsiteX20" fmla="*/ 108629 w 361670"/>
                <a:gd name="connsiteY20" fmla="*/ 150662 h 361333"/>
                <a:gd name="connsiteX21" fmla="*/ 111824 w 361670"/>
                <a:gd name="connsiteY21" fmla="*/ 168537 h 361333"/>
                <a:gd name="connsiteX22" fmla="*/ 109268 w 361670"/>
                <a:gd name="connsiteY22" fmla="*/ 174921 h 361333"/>
                <a:gd name="connsiteX23" fmla="*/ 102239 w 361670"/>
                <a:gd name="connsiteY23" fmla="*/ 175560 h 361333"/>
                <a:gd name="connsiteX24" fmla="*/ 86264 w 361670"/>
                <a:gd name="connsiteY24" fmla="*/ 167260 h 361333"/>
                <a:gd name="connsiteX25" fmla="*/ 71567 w 361670"/>
                <a:gd name="connsiteY25" fmla="*/ 175560 h 361333"/>
                <a:gd name="connsiteX26" fmla="*/ 169333 w 361670"/>
                <a:gd name="connsiteY26" fmla="*/ 218971 h 361333"/>
                <a:gd name="connsiteX27" fmla="*/ 156553 w 361670"/>
                <a:gd name="connsiteY27" fmla="*/ 231738 h 361333"/>
                <a:gd name="connsiteX28" fmla="*/ 159748 w 361670"/>
                <a:gd name="connsiteY28" fmla="*/ 249614 h 361333"/>
                <a:gd name="connsiteX29" fmla="*/ 157192 w 361670"/>
                <a:gd name="connsiteY29" fmla="*/ 255998 h 361333"/>
                <a:gd name="connsiteX30" fmla="*/ 153358 w 361670"/>
                <a:gd name="connsiteY30" fmla="*/ 257274 h 361333"/>
                <a:gd name="connsiteX31" fmla="*/ 150164 w 361670"/>
                <a:gd name="connsiteY31" fmla="*/ 256636 h 361333"/>
                <a:gd name="connsiteX32" fmla="*/ 134189 w 361670"/>
                <a:gd name="connsiteY32" fmla="*/ 248337 h 361333"/>
                <a:gd name="connsiteX33" fmla="*/ 118214 w 361670"/>
                <a:gd name="connsiteY33" fmla="*/ 256636 h 361333"/>
                <a:gd name="connsiteX34" fmla="*/ 111185 w 361670"/>
                <a:gd name="connsiteY34" fmla="*/ 255998 h 361333"/>
                <a:gd name="connsiteX35" fmla="*/ 108629 w 361670"/>
                <a:gd name="connsiteY35" fmla="*/ 249614 h 361333"/>
                <a:gd name="connsiteX36" fmla="*/ 111824 w 361670"/>
                <a:gd name="connsiteY36" fmla="*/ 231738 h 361333"/>
                <a:gd name="connsiteX37" fmla="*/ 99044 w 361670"/>
                <a:gd name="connsiteY37" fmla="*/ 218971 h 361333"/>
                <a:gd name="connsiteX38" fmla="*/ 97127 w 361670"/>
                <a:gd name="connsiteY38" fmla="*/ 212587 h 361333"/>
                <a:gd name="connsiteX39" fmla="*/ 102239 w 361670"/>
                <a:gd name="connsiteY39" fmla="*/ 208118 h 361333"/>
                <a:gd name="connsiteX40" fmla="*/ 120131 w 361670"/>
                <a:gd name="connsiteY40" fmla="*/ 205564 h 361333"/>
                <a:gd name="connsiteX41" fmla="*/ 127799 w 361670"/>
                <a:gd name="connsiteY41" fmla="*/ 189604 h 361333"/>
                <a:gd name="connsiteX42" fmla="*/ 139301 w 361670"/>
                <a:gd name="connsiteY42" fmla="*/ 189604 h 361333"/>
                <a:gd name="connsiteX43" fmla="*/ 146969 w 361670"/>
                <a:gd name="connsiteY43" fmla="*/ 205564 h 361333"/>
                <a:gd name="connsiteX44" fmla="*/ 164861 w 361670"/>
                <a:gd name="connsiteY44" fmla="*/ 208118 h 361333"/>
                <a:gd name="connsiteX45" fmla="*/ 169972 w 361670"/>
                <a:gd name="connsiteY45" fmla="*/ 212587 h 361333"/>
                <a:gd name="connsiteX46" fmla="*/ 169333 w 361670"/>
                <a:gd name="connsiteY46" fmla="*/ 218971 h 361333"/>
                <a:gd name="connsiteX47" fmla="*/ 180835 w 361670"/>
                <a:gd name="connsiteY47" fmla="*/ 167260 h 361333"/>
                <a:gd name="connsiteX48" fmla="*/ 164861 w 361670"/>
                <a:gd name="connsiteY48" fmla="*/ 175560 h 361333"/>
                <a:gd name="connsiteX49" fmla="*/ 161666 w 361670"/>
                <a:gd name="connsiteY49" fmla="*/ 176198 h 361333"/>
                <a:gd name="connsiteX50" fmla="*/ 157832 w 361670"/>
                <a:gd name="connsiteY50" fmla="*/ 174921 h 361333"/>
                <a:gd name="connsiteX51" fmla="*/ 155276 w 361670"/>
                <a:gd name="connsiteY51" fmla="*/ 168537 h 361333"/>
                <a:gd name="connsiteX52" fmla="*/ 158471 w 361670"/>
                <a:gd name="connsiteY52" fmla="*/ 150662 h 361333"/>
                <a:gd name="connsiteX53" fmla="*/ 145691 w 361670"/>
                <a:gd name="connsiteY53" fmla="*/ 137894 h 361333"/>
                <a:gd name="connsiteX54" fmla="*/ 143774 w 361670"/>
                <a:gd name="connsiteY54" fmla="*/ 131510 h 361333"/>
                <a:gd name="connsiteX55" fmla="*/ 148886 w 361670"/>
                <a:gd name="connsiteY55" fmla="*/ 127041 h 361333"/>
                <a:gd name="connsiteX56" fmla="*/ 166777 w 361670"/>
                <a:gd name="connsiteY56" fmla="*/ 124488 h 361333"/>
                <a:gd name="connsiteX57" fmla="*/ 174445 w 361670"/>
                <a:gd name="connsiteY57" fmla="*/ 108528 h 361333"/>
                <a:gd name="connsiteX58" fmla="*/ 185947 w 361670"/>
                <a:gd name="connsiteY58" fmla="*/ 108528 h 361333"/>
                <a:gd name="connsiteX59" fmla="*/ 193615 w 361670"/>
                <a:gd name="connsiteY59" fmla="*/ 124488 h 361333"/>
                <a:gd name="connsiteX60" fmla="*/ 211507 w 361670"/>
                <a:gd name="connsiteY60" fmla="*/ 127041 h 361333"/>
                <a:gd name="connsiteX61" fmla="*/ 216619 w 361670"/>
                <a:gd name="connsiteY61" fmla="*/ 131510 h 361333"/>
                <a:gd name="connsiteX62" fmla="*/ 214702 w 361670"/>
                <a:gd name="connsiteY62" fmla="*/ 137894 h 361333"/>
                <a:gd name="connsiteX63" fmla="*/ 201922 w 361670"/>
                <a:gd name="connsiteY63" fmla="*/ 150662 h 361333"/>
                <a:gd name="connsiteX64" fmla="*/ 205117 w 361670"/>
                <a:gd name="connsiteY64" fmla="*/ 168537 h 361333"/>
                <a:gd name="connsiteX65" fmla="*/ 202561 w 361670"/>
                <a:gd name="connsiteY65" fmla="*/ 174921 h 361333"/>
                <a:gd name="connsiteX66" fmla="*/ 195532 w 361670"/>
                <a:gd name="connsiteY66" fmla="*/ 175560 h 361333"/>
                <a:gd name="connsiteX67" fmla="*/ 180835 w 361670"/>
                <a:gd name="connsiteY67" fmla="*/ 167260 h 361333"/>
                <a:gd name="connsiteX68" fmla="*/ 262626 w 361670"/>
                <a:gd name="connsiteY68" fmla="*/ 218971 h 361333"/>
                <a:gd name="connsiteX69" fmla="*/ 249847 w 361670"/>
                <a:gd name="connsiteY69" fmla="*/ 231738 h 361333"/>
                <a:gd name="connsiteX70" fmla="*/ 253042 w 361670"/>
                <a:gd name="connsiteY70" fmla="*/ 249614 h 361333"/>
                <a:gd name="connsiteX71" fmla="*/ 250486 w 361670"/>
                <a:gd name="connsiteY71" fmla="*/ 255998 h 361333"/>
                <a:gd name="connsiteX72" fmla="*/ 246652 w 361670"/>
                <a:gd name="connsiteY72" fmla="*/ 257274 h 361333"/>
                <a:gd name="connsiteX73" fmla="*/ 243457 w 361670"/>
                <a:gd name="connsiteY73" fmla="*/ 256636 h 361333"/>
                <a:gd name="connsiteX74" fmla="*/ 227482 w 361670"/>
                <a:gd name="connsiteY74" fmla="*/ 248337 h 361333"/>
                <a:gd name="connsiteX75" fmla="*/ 211507 w 361670"/>
                <a:gd name="connsiteY75" fmla="*/ 256636 h 361333"/>
                <a:gd name="connsiteX76" fmla="*/ 204478 w 361670"/>
                <a:gd name="connsiteY76" fmla="*/ 255998 h 361333"/>
                <a:gd name="connsiteX77" fmla="*/ 201922 w 361670"/>
                <a:gd name="connsiteY77" fmla="*/ 249614 h 361333"/>
                <a:gd name="connsiteX78" fmla="*/ 205117 w 361670"/>
                <a:gd name="connsiteY78" fmla="*/ 231738 h 361333"/>
                <a:gd name="connsiteX79" fmla="*/ 192337 w 361670"/>
                <a:gd name="connsiteY79" fmla="*/ 218971 h 361333"/>
                <a:gd name="connsiteX80" fmla="*/ 190420 w 361670"/>
                <a:gd name="connsiteY80" fmla="*/ 212587 h 361333"/>
                <a:gd name="connsiteX81" fmla="*/ 195532 w 361670"/>
                <a:gd name="connsiteY81" fmla="*/ 208118 h 361333"/>
                <a:gd name="connsiteX82" fmla="*/ 213424 w 361670"/>
                <a:gd name="connsiteY82" fmla="*/ 205564 h 361333"/>
                <a:gd name="connsiteX83" fmla="*/ 221092 w 361670"/>
                <a:gd name="connsiteY83" fmla="*/ 189604 h 361333"/>
                <a:gd name="connsiteX84" fmla="*/ 232594 w 361670"/>
                <a:gd name="connsiteY84" fmla="*/ 189604 h 361333"/>
                <a:gd name="connsiteX85" fmla="*/ 240262 w 361670"/>
                <a:gd name="connsiteY85" fmla="*/ 205564 h 361333"/>
                <a:gd name="connsiteX86" fmla="*/ 258154 w 361670"/>
                <a:gd name="connsiteY86" fmla="*/ 208118 h 361333"/>
                <a:gd name="connsiteX87" fmla="*/ 263266 w 361670"/>
                <a:gd name="connsiteY87" fmla="*/ 212587 h 361333"/>
                <a:gd name="connsiteX88" fmla="*/ 262626 w 361670"/>
                <a:gd name="connsiteY88" fmla="*/ 218971 h 361333"/>
                <a:gd name="connsiteX89" fmla="*/ 295854 w 361670"/>
                <a:gd name="connsiteY89" fmla="*/ 151300 h 361333"/>
                <a:gd name="connsiteX90" fmla="*/ 299049 w 361670"/>
                <a:gd name="connsiteY90" fmla="*/ 169176 h 361333"/>
                <a:gd name="connsiteX91" fmla="*/ 296493 w 361670"/>
                <a:gd name="connsiteY91" fmla="*/ 175560 h 361333"/>
                <a:gd name="connsiteX92" fmla="*/ 289464 w 361670"/>
                <a:gd name="connsiteY92" fmla="*/ 176198 h 361333"/>
                <a:gd name="connsiteX93" fmla="*/ 273489 w 361670"/>
                <a:gd name="connsiteY93" fmla="*/ 167899 h 361333"/>
                <a:gd name="connsiteX94" fmla="*/ 257515 w 361670"/>
                <a:gd name="connsiteY94" fmla="*/ 176198 h 361333"/>
                <a:gd name="connsiteX95" fmla="*/ 254320 w 361670"/>
                <a:gd name="connsiteY95" fmla="*/ 176836 h 361333"/>
                <a:gd name="connsiteX96" fmla="*/ 250486 w 361670"/>
                <a:gd name="connsiteY96" fmla="*/ 175560 h 361333"/>
                <a:gd name="connsiteX97" fmla="*/ 247930 w 361670"/>
                <a:gd name="connsiteY97" fmla="*/ 169176 h 361333"/>
                <a:gd name="connsiteX98" fmla="*/ 251125 w 361670"/>
                <a:gd name="connsiteY98" fmla="*/ 151300 h 361333"/>
                <a:gd name="connsiteX99" fmla="*/ 238345 w 361670"/>
                <a:gd name="connsiteY99" fmla="*/ 138532 h 361333"/>
                <a:gd name="connsiteX100" fmla="*/ 236428 w 361670"/>
                <a:gd name="connsiteY100" fmla="*/ 132148 h 361333"/>
                <a:gd name="connsiteX101" fmla="*/ 241540 w 361670"/>
                <a:gd name="connsiteY101" fmla="*/ 127680 h 361333"/>
                <a:gd name="connsiteX102" fmla="*/ 259431 w 361670"/>
                <a:gd name="connsiteY102" fmla="*/ 125126 h 361333"/>
                <a:gd name="connsiteX103" fmla="*/ 267100 w 361670"/>
                <a:gd name="connsiteY103" fmla="*/ 109166 h 361333"/>
                <a:gd name="connsiteX104" fmla="*/ 278602 w 361670"/>
                <a:gd name="connsiteY104" fmla="*/ 109166 h 361333"/>
                <a:gd name="connsiteX105" fmla="*/ 286269 w 361670"/>
                <a:gd name="connsiteY105" fmla="*/ 125126 h 361333"/>
                <a:gd name="connsiteX106" fmla="*/ 304161 w 361670"/>
                <a:gd name="connsiteY106" fmla="*/ 127680 h 361333"/>
                <a:gd name="connsiteX107" fmla="*/ 309273 w 361670"/>
                <a:gd name="connsiteY107" fmla="*/ 132148 h 361333"/>
                <a:gd name="connsiteX108" fmla="*/ 307356 w 361670"/>
                <a:gd name="connsiteY108" fmla="*/ 138532 h 361333"/>
                <a:gd name="connsiteX109" fmla="*/ 295854 w 361670"/>
                <a:gd name="connsiteY109" fmla="*/ 151300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6"/>
                    <a:pt x="281157" y="0"/>
                    <a:pt x="180835" y="0"/>
                  </a:cubicBezTo>
                  <a:close/>
                  <a:moveTo>
                    <a:pt x="71567" y="175560"/>
                  </a:moveTo>
                  <a:cubicBezTo>
                    <a:pt x="70928" y="176198"/>
                    <a:pt x="69650" y="176198"/>
                    <a:pt x="68372" y="176198"/>
                  </a:cubicBezTo>
                  <a:cubicBezTo>
                    <a:pt x="67094" y="176198"/>
                    <a:pt x="65816" y="175560"/>
                    <a:pt x="64538" y="174921"/>
                  </a:cubicBezTo>
                  <a:cubicBezTo>
                    <a:pt x="62622" y="173644"/>
                    <a:pt x="61343" y="171091"/>
                    <a:pt x="61982" y="168537"/>
                  </a:cubicBezTo>
                  <a:lnTo>
                    <a:pt x="65177" y="150662"/>
                  </a:lnTo>
                  <a:lnTo>
                    <a:pt x="52398" y="137894"/>
                  </a:lnTo>
                  <a:cubicBezTo>
                    <a:pt x="50481" y="135979"/>
                    <a:pt x="49842" y="133425"/>
                    <a:pt x="50481" y="131510"/>
                  </a:cubicBezTo>
                  <a:cubicBezTo>
                    <a:pt x="51119" y="128956"/>
                    <a:pt x="53037" y="127680"/>
                    <a:pt x="55593" y="127041"/>
                  </a:cubicBezTo>
                  <a:lnTo>
                    <a:pt x="73484" y="124488"/>
                  </a:lnTo>
                  <a:lnTo>
                    <a:pt x="81152" y="108528"/>
                  </a:lnTo>
                  <a:cubicBezTo>
                    <a:pt x="83069" y="104059"/>
                    <a:pt x="90737" y="104059"/>
                    <a:pt x="92654" y="108528"/>
                  </a:cubicBezTo>
                  <a:lnTo>
                    <a:pt x="100322" y="124488"/>
                  </a:lnTo>
                  <a:lnTo>
                    <a:pt x="118214" y="127041"/>
                  </a:lnTo>
                  <a:cubicBezTo>
                    <a:pt x="120770" y="127680"/>
                    <a:pt x="122687" y="128956"/>
                    <a:pt x="123326" y="131510"/>
                  </a:cubicBezTo>
                  <a:cubicBezTo>
                    <a:pt x="123965" y="134064"/>
                    <a:pt x="123326" y="136617"/>
                    <a:pt x="121409" y="137894"/>
                  </a:cubicBezTo>
                  <a:lnTo>
                    <a:pt x="108629" y="150662"/>
                  </a:lnTo>
                  <a:lnTo>
                    <a:pt x="111824" y="168537"/>
                  </a:lnTo>
                  <a:cubicBezTo>
                    <a:pt x="112463" y="171091"/>
                    <a:pt x="111185" y="173644"/>
                    <a:pt x="109268" y="174921"/>
                  </a:cubicBezTo>
                  <a:cubicBezTo>
                    <a:pt x="107351" y="176198"/>
                    <a:pt x="104795" y="176836"/>
                    <a:pt x="102239" y="175560"/>
                  </a:cubicBezTo>
                  <a:lnTo>
                    <a:pt x="86264" y="167260"/>
                  </a:lnTo>
                  <a:lnTo>
                    <a:pt x="71567" y="175560"/>
                  </a:lnTo>
                  <a:close/>
                  <a:moveTo>
                    <a:pt x="169333" y="218971"/>
                  </a:moveTo>
                  <a:lnTo>
                    <a:pt x="156553" y="231738"/>
                  </a:lnTo>
                  <a:lnTo>
                    <a:pt x="159748" y="249614"/>
                  </a:lnTo>
                  <a:cubicBezTo>
                    <a:pt x="160387" y="252167"/>
                    <a:pt x="159110" y="254721"/>
                    <a:pt x="157192" y="255998"/>
                  </a:cubicBezTo>
                  <a:cubicBezTo>
                    <a:pt x="155915" y="256636"/>
                    <a:pt x="154637" y="257274"/>
                    <a:pt x="153358" y="257274"/>
                  </a:cubicBezTo>
                  <a:cubicBezTo>
                    <a:pt x="152081" y="257274"/>
                    <a:pt x="151442" y="257274"/>
                    <a:pt x="150164" y="256636"/>
                  </a:cubicBezTo>
                  <a:lnTo>
                    <a:pt x="134189" y="248337"/>
                  </a:lnTo>
                  <a:lnTo>
                    <a:pt x="118214" y="256636"/>
                  </a:lnTo>
                  <a:cubicBezTo>
                    <a:pt x="116297" y="257913"/>
                    <a:pt x="113741" y="257274"/>
                    <a:pt x="111185" y="255998"/>
                  </a:cubicBezTo>
                  <a:cubicBezTo>
                    <a:pt x="109268" y="254721"/>
                    <a:pt x="107990" y="252167"/>
                    <a:pt x="108629" y="249614"/>
                  </a:cubicBezTo>
                  <a:lnTo>
                    <a:pt x="111824" y="231738"/>
                  </a:lnTo>
                  <a:lnTo>
                    <a:pt x="99044" y="218971"/>
                  </a:lnTo>
                  <a:cubicBezTo>
                    <a:pt x="97127" y="217055"/>
                    <a:pt x="96488" y="214502"/>
                    <a:pt x="97127" y="212587"/>
                  </a:cubicBezTo>
                  <a:cubicBezTo>
                    <a:pt x="97766" y="210033"/>
                    <a:pt x="99683" y="208756"/>
                    <a:pt x="102239" y="208118"/>
                  </a:cubicBezTo>
                  <a:lnTo>
                    <a:pt x="120131" y="205564"/>
                  </a:lnTo>
                  <a:lnTo>
                    <a:pt x="127799" y="189604"/>
                  </a:lnTo>
                  <a:cubicBezTo>
                    <a:pt x="129716" y="185135"/>
                    <a:pt x="137384" y="185135"/>
                    <a:pt x="139301" y="189604"/>
                  </a:cubicBezTo>
                  <a:lnTo>
                    <a:pt x="146969" y="205564"/>
                  </a:lnTo>
                  <a:lnTo>
                    <a:pt x="164861" y="208118"/>
                  </a:lnTo>
                  <a:cubicBezTo>
                    <a:pt x="167416" y="208756"/>
                    <a:pt x="169333" y="210033"/>
                    <a:pt x="169972" y="212587"/>
                  </a:cubicBezTo>
                  <a:cubicBezTo>
                    <a:pt x="171889" y="215140"/>
                    <a:pt x="171250" y="217694"/>
                    <a:pt x="169333" y="218971"/>
                  </a:cubicBezTo>
                  <a:close/>
                  <a:moveTo>
                    <a:pt x="180835" y="167260"/>
                  </a:moveTo>
                  <a:lnTo>
                    <a:pt x="164861" y="175560"/>
                  </a:lnTo>
                  <a:cubicBezTo>
                    <a:pt x="164221" y="176198"/>
                    <a:pt x="162943" y="176198"/>
                    <a:pt x="161666" y="176198"/>
                  </a:cubicBezTo>
                  <a:cubicBezTo>
                    <a:pt x="160387" y="176198"/>
                    <a:pt x="159110" y="175560"/>
                    <a:pt x="157832" y="174921"/>
                  </a:cubicBezTo>
                  <a:cubicBezTo>
                    <a:pt x="155915" y="173644"/>
                    <a:pt x="154637" y="171091"/>
                    <a:pt x="155276" y="168537"/>
                  </a:cubicBezTo>
                  <a:lnTo>
                    <a:pt x="158471" y="150662"/>
                  </a:lnTo>
                  <a:lnTo>
                    <a:pt x="145691" y="137894"/>
                  </a:lnTo>
                  <a:cubicBezTo>
                    <a:pt x="143774" y="135979"/>
                    <a:pt x="143135" y="133425"/>
                    <a:pt x="143774" y="131510"/>
                  </a:cubicBezTo>
                  <a:cubicBezTo>
                    <a:pt x="144413" y="128956"/>
                    <a:pt x="146330" y="127680"/>
                    <a:pt x="148886" y="127041"/>
                  </a:cubicBezTo>
                  <a:lnTo>
                    <a:pt x="166777" y="124488"/>
                  </a:lnTo>
                  <a:lnTo>
                    <a:pt x="174445" y="108528"/>
                  </a:lnTo>
                  <a:cubicBezTo>
                    <a:pt x="176362" y="104059"/>
                    <a:pt x="184030" y="104059"/>
                    <a:pt x="185947" y="108528"/>
                  </a:cubicBezTo>
                  <a:lnTo>
                    <a:pt x="193615" y="124488"/>
                  </a:lnTo>
                  <a:lnTo>
                    <a:pt x="211507" y="127041"/>
                  </a:lnTo>
                  <a:cubicBezTo>
                    <a:pt x="214063" y="127680"/>
                    <a:pt x="215980" y="128956"/>
                    <a:pt x="216619" y="131510"/>
                  </a:cubicBezTo>
                  <a:cubicBezTo>
                    <a:pt x="217258" y="134064"/>
                    <a:pt x="216619" y="136617"/>
                    <a:pt x="214702" y="137894"/>
                  </a:cubicBezTo>
                  <a:lnTo>
                    <a:pt x="201922" y="150662"/>
                  </a:lnTo>
                  <a:lnTo>
                    <a:pt x="205117" y="168537"/>
                  </a:lnTo>
                  <a:cubicBezTo>
                    <a:pt x="205756" y="171091"/>
                    <a:pt x="204478" y="173644"/>
                    <a:pt x="202561" y="174921"/>
                  </a:cubicBezTo>
                  <a:cubicBezTo>
                    <a:pt x="200644" y="176198"/>
                    <a:pt x="198088" y="176836"/>
                    <a:pt x="195532" y="175560"/>
                  </a:cubicBezTo>
                  <a:lnTo>
                    <a:pt x="180835" y="167260"/>
                  </a:lnTo>
                  <a:close/>
                  <a:moveTo>
                    <a:pt x="262626" y="218971"/>
                  </a:moveTo>
                  <a:lnTo>
                    <a:pt x="249847" y="231738"/>
                  </a:lnTo>
                  <a:lnTo>
                    <a:pt x="253042" y="249614"/>
                  </a:lnTo>
                  <a:cubicBezTo>
                    <a:pt x="253681" y="252167"/>
                    <a:pt x="252403" y="254721"/>
                    <a:pt x="250486" y="255998"/>
                  </a:cubicBezTo>
                  <a:cubicBezTo>
                    <a:pt x="249208" y="256636"/>
                    <a:pt x="247930" y="257274"/>
                    <a:pt x="246652" y="257274"/>
                  </a:cubicBezTo>
                  <a:cubicBezTo>
                    <a:pt x="245374" y="257274"/>
                    <a:pt x="244735" y="257274"/>
                    <a:pt x="243457" y="256636"/>
                  </a:cubicBezTo>
                  <a:lnTo>
                    <a:pt x="227482" y="248337"/>
                  </a:lnTo>
                  <a:lnTo>
                    <a:pt x="211507" y="256636"/>
                  </a:lnTo>
                  <a:cubicBezTo>
                    <a:pt x="209590" y="257913"/>
                    <a:pt x="207034" y="257274"/>
                    <a:pt x="204478" y="255998"/>
                  </a:cubicBezTo>
                  <a:cubicBezTo>
                    <a:pt x="202561" y="254721"/>
                    <a:pt x="201283" y="252167"/>
                    <a:pt x="201922" y="249614"/>
                  </a:cubicBezTo>
                  <a:lnTo>
                    <a:pt x="205117" y="231738"/>
                  </a:lnTo>
                  <a:lnTo>
                    <a:pt x="192337" y="218971"/>
                  </a:lnTo>
                  <a:cubicBezTo>
                    <a:pt x="190420" y="217055"/>
                    <a:pt x="189781" y="214502"/>
                    <a:pt x="190420" y="212587"/>
                  </a:cubicBezTo>
                  <a:cubicBezTo>
                    <a:pt x="191059" y="210033"/>
                    <a:pt x="192976" y="208756"/>
                    <a:pt x="195532" y="208118"/>
                  </a:cubicBezTo>
                  <a:lnTo>
                    <a:pt x="213424" y="205564"/>
                  </a:lnTo>
                  <a:lnTo>
                    <a:pt x="221092" y="189604"/>
                  </a:lnTo>
                  <a:cubicBezTo>
                    <a:pt x="223009" y="185135"/>
                    <a:pt x="230677" y="185135"/>
                    <a:pt x="232594" y="189604"/>
                  </a:cubicBezTo>
                  <a:lnTo>
                    <a:pt x="240262" y="205564"/>
                  </a:lnTo>
                  <a:lnTo>
                    <a:pt x="258154" y="208118"/>
                  </a:lnTo>
                  <a:cubicBezTo>
                    <a:pt x="260710" y="208756"/>
                    <a:pt x="262626" y="210033"/>
                    <a:pt x="263266" y="212587"/>
                  </a:cubicBezTo>
                  <a:cubicBezTo>
                    <a:pt x="264544" y="215140"/>
                    <a:pt x="263905" y="217694"/>
                    <a:pt x="262626" y="218971"/>
                  </a:cubicBezTo>
                  <a:close/>
                  <a:moveTo>
                    <a:pt x="295854" y="151300"/>
                  </a:moveTo>
                  <a:lnTo>
                    <a:pt x="299049" y="169176"/>
                  </a:lnTo>
                  <a:cubicBezTo>
                    <a:pt x="299688" y="171729"/>
                    <a:pt x="298410" y="174283"/>
                    <a:pt x="296493" y="175560"/>
                  </a:cubicBezTo>
                  <a:cubicBezTo>
                    <a:pt x="294576" y="176836"/>
                    <a:pt x="292020" y="177475"/>
                    <a:pt x="289464" y="176198"/>
                  </a:cubicBezTo>
                  <a:lnTo>
                    <a:pt x="273489" y="167899"/>
                  </a:lnTo>
                  <a:lnTo>
                    <a:pt x="257515" y="176198"/>
                  </a:lnTo>
                  <a:cubicBezTo>
                    <a:pt x="256876" y="176836"/>
                    <a:pt x="255597" y="176836"/>
                    <a:pt x="254320" y="176836"/>
                  </a:cubicBezTo>
                  <a:cubicBezTo>
                    <a:pt x="253042" y="176836"/>
                    <a:pt x="251764" y="176198"/>
                    <a:pt x="250486" y="175560"/>
                  </a:cubicBezTo>
                  <a:cubicBezTo>
                    <a:pt x="248569" y="174283"/>
                    <a:pt x="247291" y="171729"/>
                    <a:pt x="247930" y="169176"/>
                  </a:cubicBezTo>
                  <a:lnTo>
                    <a:pt x="251125" y="151300"/>
                  </a:lnTo>
                  <a:lnTo>
                    <a:pt x="238345" y="138532"/>
                  </a:lnTo>
                  <a:cubicBezTo>
                    <a:pt x="236428" y="136617"/>
                    <a:pt x="235789" y="134064"/>
                    <a:pt x="236428" y="132148"/>
                  </a:cubicBezTo>
                  <a:cubicBezTo>
                    <a:pt x="237067" y="129595"/>
                    <a:pt x="238984" y="128318"/>
                    <a:pt x="241540" y="127680"/>
                  </a:cubicBezTo>
                  <a:lnTo>
                    <a:pt x="259431" y="125126"/>
                  </a:lnTo>
                  <a:lnTo>
                    <a:pt x="267100" y="109166"/>
                  </a:lnTo>
                  <a:cubicBezTo>
                    <a:pt x="269016" y="104697"/>
                    <a:pt x="276684" y="104697"/>
                    <a:pt x="278602" y="109166"/>
                  </a:cubicBezTo>
                  <a:lnTo>
                    <a:pt x="286269" y="125126"/>
                  </a:lnTo>
                  <a:lnTo>
                    <a:pt x="304161" y="127680"/>
                  </a:lnTo>
                  <a:cubicBezTo>
                    <a:pt x="306717" y="128318"/>
                    <a:pt x="308634" y="129595"/>
                    <a:pt x="309273" y="132148"/>
                  </a:cubicBezTo>
                  <a:cubicBezTo>
                    <a:pt x="309912" y="134702"/>
                    <a:pt x="309273" y="137256"/>
                    <a:pt x="307356" y="138532"/>
                  </a:cubicBezTo>
                  <a:lnTo>
                    <a:pt x="295854" y="15130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Graphic 4">
              <a:extLst>
                <a:ext uri="{FF2B5EF4-FFF2-40B4-BE49-F238E27FC236}">
                  <a16:creationId xmlns:a16="http://schemas.microsoft.com/office/drawing/2014/main" xmlns="" id="{096DAAFB-29FD-B748-9B6B-C4EC458C4269}"/>
                </a:ext>
              </a:extLst>
            </p:cNvPr>
            <p:cNvSpPr/>
            <p:nvPr/>
          </p:nvSpPr>
          <p:spPr>
            <a:xfrm>
              <a:off x="3255672" y="2011755"/>
              <a:ext cx="34505" cy="31919"/>
            </a:xfrm>
            <a:custGeom>
              <a:avLst/>
              <a:gdLst>
                <a:gd name="connsiteX0" fmla="*/ 21087 w 34505"/>
                <a:gd name="connsiteY0" fmla="*/ 7661 h 31919"/>
                <a:gd name="connsiteX1" fmla="*/ 17253 w 34505"/>
                <a:gd name="connsiteY1" fmla="*/ 0 h 31919"/>
                <a:gd name="connsiteX2" fmla="*/ 13419 w 34505"/>
                <a:gd name="connsiteY2" fmla="*/ 7661 h 31919"/>
                <a:gd name="connsiteX3" fmla="*/ 8307 w 34505"/>
                <a:gd name="connsiteY3" fmla="*/ 10853 h 31919"/>
                <a:gd name="connsiteX4" fmla="*/ 0 w 34505"/>
                <a:gd name="connsiteY4" fmla="*/ 12130 h 31919"/>
                <a:gd name="connsiteX5" fmla="*/ 5751 w 34505"/>
                <a:gd name="connsiteY5" fmla="*/ 17875 h 31919"/>
                <a:gd name="connsiteX6" fmla="*/ 7668 w 34505"/>
                <a:gd name="connsiteY6" fmla="*/ 23621 h 31919"/>
                <a:gd name="connsiteX7" fmla="*/ 6390 w 34505"/>
                <a:gd name="connsiteY7" fmla="*/ 31920 h 31919"/>
                <a:gd name="connsiteX8" fmla="*/ 14058 w 34505"/>
                <a:gd name="connsiteY8" fmla="*/ 28089 h 31919"/>
                <a:gd name="connsiteX9" fmla="*/ 17253 w 34505"/>
                <a:gd name="connsiteY9" fmla="*/ 27451 h 31919"/>
                <a:gd name="connsiteX10" fmla="*/ 20448 w 34505"/>
                <a:gd name="connsiteY10" fmla="*/ 28089 h 31919"/>
                <a:gd name="connsiteX11" fmla="*/ 28116 w 34505"/>
                <a:gd name="connsiteY11" fmla="*/ 31920 h 31919"/>
                <a:gd name="connsiteX12" fmla="*/ 26838 w 34505"/>
                <a:gd name="connsiteY12" fmla="*/ 23621 h 31919"/>
                <a:gd name="connsiteX13" fmla="*/ 28755 w 34505"/>
                <a:gd name="connsiteY13" fmla="*/ 17875 h 31919"/>
                <a:gd name="connsiteX14" fmla="*/ 34506 w 34505"/>
                <a:gd name="connsiteY14" fmla="*/ 12130 h 31919"/>
                <a:gd name="connsiteX15" fmla="*/ 26199 w 34505"/>
                <a:gd name="connsiteY15" fmla="*/ 10853 h 31919"/>
                <a:gd name="connsiteX16" fmla="*/ 21087 w 34505"/>
                <a:gd name="connsiteY16" fmla="*/ 7661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21087" y="7661"/>
                  </a:move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lnTo>
                    <a:pt x="26199" y="10853"/>
                  </a:lnTo>
                  <a:cubicBezTo>
                    <a:pt x="23643" y="10853"/>
                    <a:pt x="21726" y="9576"/>
                    <a:pt x="21087" y="766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Graphic 4">
              <a:extLst>
                <a:ext uri="{FF2B5EF4-FFF2-40B4-BE49-F238E27FC236}">
                  <a16:creationId xmlns:a16="http://schemas.microsoft.com/office/drawing/2014/main" xmlns="" id="{12C783DE-B189-294C-BECB-43378680C6A8}"/>
                </a:ext>
              </a:extLst>
            </p:cNvPr>
            <p:cNvSpPr/>
            <p:nvPr/>
          </p:nvSpPr>
          <p:spPr>
            <a:xfrm>
              <a:off x="3069086" y="2011755"/>
              <a:ext cx="34505" cy="31919"/>
            </a:xfrm>
            <a:custGeom>
              <a:avLst/>
              <a:gdLst>
                <a:gd name="connsiteX0" fmla="*/ 34506 w 34505"/>
                <a:gd name="connsiteY0" fmla="*/ 12130 h 31919"/>
                <a:gd name="connsiteX1" fmla="*/ 26199 w 34505"/>
                <a:gd name="connsiteY1" fmla="*/ 10853 h 31919"/>
                <a:gd name="connsiteX2" fmla="*/ 21087 w 34505"/>
                <a:gd name="connsiteY2" fmla="*/ 7661 h 31919"/>
                <a:gd name="connsiteX3" fmla="*/ 17253 w 34505"/>
                <a:gd name="connsiteY3" fmla="*/ 0 h 31919"/>
                <a:gd name="connsiteX4" fmla="*/ 13419 w 34505"/>
                <a:gd name="connsiteY4" fmla="*/ 7661 h 31919"/>
                <a:gd name="connsiteX5" fmla="*/ 8307 w 34505"/>
                <a:gd name="connsiteY5" fmla="*/ 10853 h 31919"/>
                <a:gd name="connsiteX6" fmla="*/ 0 w 34505"/>
                <a:gd name="connsiteY6" fmla="*/ 12130 h 31919"/>
                <a:gd name="connsiteX7" fmla="*/ 5751 w 34505"/>
                <a:gd name="connsiteY7" fmla="*/ 17875 h 31919"/>
                <a:gd name="connsiteX8" fmla="*/ 7668 w 34505"/>
                <a:gd name="connsiteY8" fmla="*/ 23621 h 31919"/>
                <a:gd name="connsiteX9" fmla="*/ 6390 w 34505"/>
                <a:gd name="connsiteY9" fmla="*/ 31920 h 31919"/>
                <a:gd name="connsiteX10" fmla="*/ 14058 w 34505"/>
                <a:gd name="connsiteY10" fmla="*/ 28089 h 31919"/>
                <a:gd name="connsiteX11" fmla="*/ 17253 w 34505"/>
                <a:gd name="connsiteY11" fmla="*/ 27451 h 31919"/>
                <a:gd name="connsiteX12" fmla="*/ 20448 w 34505"/>
                <a:gd name="connsiteY12" fmla="*/ 28089 h 31919"/>
                <a:gd name="connsiteX13" fmla="*/ 28116 w 34505"/>
                <a:gd name="connsiteY13" fmla="*/ 31920 h 31919"/>
                <a:gd name="connsiteX14" fmla="*/ 26838 w 34505"/>
                <a:gd name="connsiteY14" fmla="*/ 23621 h 31919"/>
                <a:gd name="connsiteX15" fmla="*/ 28755 w 34505"/>
                <a:gd name="connsiteY15" fmla="*/ 17875 h 31919"/>
                <a:gd name="connsiteX16" fmla="*/ 34506 w 34505"/>
                <a:gd name="connsiteY16" fmla="*/ 12130 h 3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505" h="31919">
                  <a:moveTo>
                    <a:pt x="34506" y="12130"/>
                  </a:moveTo>
                  <a:lnTo>
                    <a:pt x="26199" y="10853"/>
                  </a:lnTo>
                  <a:cubicBezTo>
                    <a:pt x="24282" y="10853"/>
                    <a:pt x="22365" y="8938"/>
                    <a:pt x="21087" y="7661"/>
                  </a:cubicBezTo>
                  <a:lnTo>
                    <a:pt x="17253" y="0"/>
                  </a:lnTo>
                  <a:lnTo>
                    <a:pt x="13419" y="7661"/>
                  </a:lnTo>
                  <a:cubicBezTo>
                    <a:pt x="12780" y="9576"/>
                    <a:pt x="10863" y="10853"/>
                    <a:pt x="8307" y="10853"/>
                  </a:cubicBezTo>
                  <a:lnTo>
                    <a:pt x="0" y="12130"/>
                  </a:lnTo>
                  <a:lnTo>
                    <a:pt x="5751" y="17875"/>
                  </a:lnTo>
                  <a:cubicBezTo>
                    <a:pt x="7029" y="19152"/>
                    <a:pt x="7668" y="21706"/>
                    <a:pt x="7668" y="23621"/>
                  </a:cubicBezTo>
                  <a:lnTo>
                    <a:pt x="6390" y="31920"/>
                  </a:lnTo>
                  <a:lnTo>
                    <a:pt x="14058" y="28089"/>
                  </a:lnTo>
                  <a:cubicBezTo>
                    <a:pt x="14697" y="27451"/>
                    <a:pt x="15975" y="27451"/>
                    <a:pt x="17253" y="27451"/>
                  </a:cubicBezTo>
                  <a:cubicBezTo>
                    <a:pt x="18531" y="27451"/>
                    <a:pt x="19170" y="27451"/>
                    <a:pt x="20448" y="28089"/>
                  </a:cubicBezTo>
                  <a:lnTo>
                    <a:pt x="28116" y="31920"/>
                  </a:lnTo>
                  <a:lnTo>
                    <a:pt x="26838" y="23621"/>
                  </a:lnTo>
                  <a:cubicBezTo>
                    <a:pt x="26199" y="21706"/>
                    <a:pt x="27477" y="19152"/>
                    <a:pt x="28755" y="17875"/>
                  </a:cubicBezTo>
                  <a:lnTo>
                    <a:pt x="34506" y="1213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9" name="Content Placeholder 2"/>
          <p:cNvSpPr txBox="1">
            <a:spLocks/>
          </p:cNvSpPr>
          <p:nvPr/>
        </p:nvSpPr>
        <p:spPr>
          <a:xfrm>
            <a:off x="8745811" y="4046129"/>
            <a:ext cx="3014072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ru-RU" sz="1400" dirty="0" smtClean="0"/>
              <a:t>В </a:t>
            </a:r>
            <a:r>
              <a:rPr lang="ru-RU" sz="1400" dirty="0"/>
              <a:t>2022 году </a:t>
            </a:r>
            <a:r>
              <a:rPr lang="ru-RU" sz="1400" dirty="0" smtClean="0"/>
              <a:t>юристы ДРТ были </a:t>
            </a:r>
            <a:r>
              <a:rPr lang="ru-RU" sz="2000" b="1" dirty="0">
                <a:solidFill>
                  <a:schemeClr val="accent1"/>
                </a:solidFill>
              </a:rPr>
              <a:t>отмечены сразу в 11 номинациях рейтинга «Право-300». </a:t>
            </a:r>
            <a:r>
              <a:rPr lang="ru-RU" sz="1400" dirty="0" smtClean="0"/>
              <a:t>Наша команда заняла места в Группе </a:t>
            </a:r>
            <a:r>
              <a:rPr lang="en-US" sz="1400" dirty="0" smtClean="0"/>
              <a:t>I </a:t>
            </a:r>
            <a:r>
              <a:rPr lang="ru-RU" sz="1400" dirty="0" smtClean="0"/>
              <a:t>в категориях «</a:t>
            </a:r>
            <a:r>
              <a:rPr lang="ru-RU" sz="1400" dirty="0" err="1" smtClean="0"/>
              <a:t>Комплаенс</a:t>
            </a:r>
            <a:r>
              <a:rPr lang="ru-RU" sz="1400" dirty="0"/>
              <a:t>», «</a:t>
            </a:r>
            <a:r>
              <a:rPr lang="ru-RU" sz="1400" dirty="0" smtClean="0"/>
              <a:t>Налоговые споры</a:t>
            </a:r>
            <a:r>
              <a:rPr lang="ru-RU" sz="1400" dirty="0"/>
              <a:t>», «Экологическое право</a:t>
            </a:r>
            <a:r>
              <a:rPr lang="ru-RU" sz="1400" dirty="0" smtClean="0"/>
              <a:t>», а также в Группе </a:t>
            </a:r>
            <a:r>
              <a:rPr lang="en-US" sz="1400" dirty="0" smtClean="0"/>
              <a:t>II </a:t>
            </a:r>
            <a:r>
              <a:rPr lang="ru-RU" sz="1400" dirty="0" smtClean="0"/>
              <a:t>в категории «Интеллектуальная </a:t>
            </a:r>
            <a:r>
              <a:rPr lang="ru-RU" sz="1400" dirty="0"/>
              <a:t>собственность</a:t>
            </a:r>
            <a:r>
              <a:rPr lang="ru-RU" sz="1400" dirty="0" smtClean="0"/>
              <a:t>»</a:t>
            </a:r>
            <a:endParaRPr lang="en-US" sz="1400" dirty="0" smtClean="0"/>
          </a:p>
        </p:txBody>
      </p:sp>
      <p:sp>
        <p:nvSpPr>
          <p:cNvPr id="110" name="Content Placeholder 2"/>
          <p:cNvSpPr txBox="1">
            <a:spLocks/>
          </p:cNvSpPr>
          <p:nvPr/>
        </p:nvSpPr>
        <p:spPr>
          <a:xfrm>
            <a:off x="5554562" y="425411"/>
            <a:ext cx="6180237" cy="1046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ru-RU" sz="1400" dirty="0" smtClean="0"/>
              <a:t>Наши приоритеты — </a:t>
            </a:r>
            <a:r>
              <a:rPr lang="ru-RU" sz="1400" dirty="0"/>
              <a:t>это</a:t>
            </a:r>
            <a:r>
              <a:rPr lang="ru-RU" sz="2000" b="1" dirty="0"/>
              <a:t> </a:t>
            </a:r>
            <a:r>
              <a:rPr lang="ru-RU" sz="2000" b="1" dirty="0">
                <a:solidFill>
                  <a:schemeClr val="accent1"/>
                </a:solidFill>
              </a:rPr>
              <a:t>сплоченная команда, ее знания, опыт и нацеленность на результат. </a:t>
            </a:r>
            <a:r>
              <a:rPr lang="ru-RU" sz="1400" dirty="0" smtClean="0"/>
              <a:t>Мы продолжаем оказывать своим клиентам услуги в полном объеме с неизменно высоким уровнем качества, как это было на протяжении 30 лет нашей работы на рынке.</a:t>
            </a:r>
          </a:p>
        </p:txBody>
      </p:sp>
      <p:sp>
        <p:nvSpPr>
          <p:cNvPr id="111" name="Content Placeholder 2"/>
          <p:cNvSpPr txBox="1">
            <a:spLocks/>
          </p:cNvSpPr>
          <p:nvPr/>
        </p:nvSpPr>
        <p:spPr>
          <a:xfrm>
            <a:off x="1288058" y="3688127"/>
            <a:ext cx="4232168" cy="2585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300" b="0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2pPr>
            <a:lvl3pPr marL="18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3pPr>
            <a:lvl4pPr marL="360000" indent="-180000" algn="l" defTabSz="121917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4pPr>
            <a:lvl5pPr marL="540000" indent="-180000" algn="l" defTabSz="1064657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300" kern="1200" baseline="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ru-RU" sz="1600" dirty="0" smtClean="0"/>
              <a:t>Мы сконцентрированы на том, чтобы </a:t>
            </a:r>
            <a:r>
              <a:rPr lang="ru-RU" sz="2000" b="1" dirty="0">
                <a:solidFill>
                  <a:schemeClr val="accent1"/>
                </a:solidFill>
              </a:rPr>
              <a:t>предоставлять своим клиентам решения и технологии, </a:t>
            </a:r>
            <a:r>
              <a:rPr lang="ru-RU" sz="1600" dirty="0" smtClean="0"/>
              <a:t>позволяющие не только справляться со стремительными изменениями внешней среды, но и становиться движущей силой таких изменений, пионерами инноваций. Объединяя передовые практики и уникальную команду, мы создаем новые возможности для</a:t>
            </a:r>
            <a:r>
              <a:rPr lang="en-US" sz="1600" dirty="0" smtClean="0"/>
              <a:t> </a:t>
            </a:r>
            <a:r>
              <a:rPr lang="ru-RU" sz="1600" dirty="0" smtClean="0"/>
              <a:t>наших клиентов, сотрудников и общества</a:t>
            </a:r>
          </a:p>
        </p:txBody>
      </p:sp>
      <p:sp>
        <p:nvSpPr>
          <p:cNvPr id="113" name="Freeform 112"/>
          <p:cNvSpPr/>
          <p:nvPr/>
        </p:nvSpPr>
        <p:spPr bwMode="gray">
          <a:xfrm>
            <a:off x="1270000" y="3035299"/>
            <a:ext cx="4004082" cy="140439"/>
          </a:xfrm>
          <a:custGeom>
            <a:avLst/>
            <a:gdLst>
              <a:gd name="connsiteX0" fmla="*/ 0 w 4140200"/>
              <a:gd name="connsiteY0" fmla="*/ 0 h 190500"/>
              <a:gd name="connsiteX1" fmla="*/ 3327400 w 4140200"/>
              <a:gd name="connsiteY1" fmla="*/ 0 h 190500"/>
              <a:gd name="connsiteX2" fmla="*/ 4140200 w 4140200"/>
              <a:gd name="connsiteY2" fmla="*/ 190500 h 190500"/>
              <a:gd name="connsiteX0" fmla="*/ 0 w 4114800"/>
              <a:gd name="connsiteY0" fmla="*/ 0 h 180975"/>
              <a:gd name="connsiteX1" fmla="*/ 3327400 w 4114800"/>
              <a:gd name="connsiteY1" fmla="*/ 0 h 180975"/>
              <a:gd name="connsiteX2" fmla="*/ 4114800 w 4114800"/>
              <a:gd name="connsiteY2" fmla="*/ 180975 h 180975"/>
              <a:gd name="connsiteX0" fmla="*/ 0 w 4151577"/>
              <a:gd name="connsiteY0" fmla="*/ 0 h 193611"/>
              <a:gd name="connsiteX1" fmla="*/ 3327400 w 4151577"/>
              <a:gd name="connsiteY1" fmla="*/ 0 h 193611"/>
              <a:gd name="connsiteX2" fmla="*/ 4151577 w 4151577"/>
              <a:gd name="connsiteY2" fmla="*/ 193611 h 193611"/>
              <a:gd name="connsiteX0" fmla="*/ 0 w 4125308"/>
              <a:gd name="connsiteY0" fmla="*/ 0 h 174658"/>
              <a:gd name="connsiteX1" fmla="*/ 3327400 w 4125308"/>
              <a:gd name="connsiteY1" fmla="*/ 0 h 174658"/>
              <a:gd name="connsiteX2" fmla="*/ 4125308 w 4125308"/>
              <a:gd name="connsiteY2" fmla="*/ 174658 h 174658"/>
              <a:gd name="connsiteX0" fmla="*/ 0 w 4141069"/>
              <a:gd name="connsiteY0" fmla="*/ 0 h 174658"/>
              <a:gd name="connsiteX1" fmla="*/ 3327400 w 4141069"/>
              <a:gd name="connsiteY1" fmla="*/ 0 h 174658"/>
              <a:gd name="connsiteX2" fmla="*/ 4141069 w 4141069"/>
              <a:gd name="connsiteY2" fmla="*/ 174658 h 17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41069" h="174658">
                <a:moveTo>
                  <a:pt x="0" y="0"/>
                </a:moveTo>
                <a:lnTo>
                  <a:pt x="3327400" y="0"/>
                </a:lnTo>
                <a:lnTo>
                  <a:pt x="4141069" y="174658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tailEnd type="oval" w="lg" len="lg"/>
          </a:ln>
        </p:spPr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0" name="Graphic 4">
            <a:extLst>
              <a:ext uri="{FF2B5EF4-FFF2-40B4-BE49-F238E27FC236}">
                <a16:creationId xmlns:a16="http://schemas.microsoft.com/office/drawing/2014/main" xmlns="" id="{E5102951-196E-AD41-9EF4-B8C917743F8F}"/>
              </a:ext>
            </a:extLst>
          </p:cNvPr>
          <p:cNvGrpSpPr/>
          <p:nvPr/>
        </p:nvGrpSpPr>
        <p:grpSpPr>
          <a:xfrm>
            <a:off x="5373293" y="2995728"/>
            <a:ext cx="540000" cy="540000"/>
            <a:chOff x="905454" y="2855717"/>
            <a:chExt cx="361674" cy="361333"/>
          </a:xfrm>
          <a:solidFill>
            <a:schemeClr val="accent1"/>
          </a:solidFill>
        </p:grpSpPr>
        <p:sp>
          <p:nvSpPr>
            <p:cNvPr id="91" name="Graphic 4">
              <a:extLst>
                <a:ext uri="{FF2B5EF4-FFF2-40B4-BE49-F238E27FC236}">
                  <a16:creationId xmlns:a16="http://schemas.microsoft.com/office/drawing/2014/main" xmlns="" id="{31BD1123-05C8-B44C-9766-083D790CE6C7}"/>
                </a:ext>
              </a:extLst>
            </p:cNvPr>
            <p:cNvSpPr/>
            <p:nvPr/>
          </p:nvSpPr>
          <p:spPr>
            <a:xfrm>
              <a:off x="1149549" y="2979567"/>
              <a:ext cx="35783" cy="35750"/>
            </a:xfrm>
            <a:custGeom>
              <a:avLst/>
              <a:gdLst>
                <a:gd name="connsiteX0" fmla="*/ 35784 w 35783"/>
                <a:gd name="connsiteY0" fmla="*/ 17875 h 35750"/>
                <a:gd name="connsiteX1" fmla="*/ 17892 w 35783"/>
                <a:gd name="connsiteY1" fmla="*/ 35750 h 35750"/>
                <a:gd name="connsiteX2" fmla="*/ 0 w 35783"/>
                <a:gd name="connsiteY2" fmla="*/ 17875 h 35750"/>
                <a:gd name="connsiteX3" fmla="*/ 17892 w 35783"/>
                <a:gd name="connsiteY3" fmla="*/ 0 h 35750"/>
                <a:gd name="connsiteX4" fmla="*/ 35784 w 35783"/>
                <a:gd name="connsiteY4" fmla="*/ 17875 h 3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83" h="35750">
                  <a:moveTo>
                    <a:pt x="35784" y="17875"/>
                  </a:moveTo>
                  <a:cubicBezTo>
                    <a:pt x="35784" y="27747"/>
                    <a:pt x="27773" y="35750"/>
                    <a:pt x="17892" y="35750"/>
                  </a:cubicBezTo>
                  <a:cubicBezTo>
                    <a:pt x="8010" y="35750"/>
                    <a:pt x="0" y="27747"/>
                    <a:pt x="0" y="17875"/>
                  </a:cubicBezTo>
                  <a:cubicBezTo>
                    <a:pt x="0" y="8003"/>
                    <a:pt x="8010" y="0"/>
                    <a:pt x="17892" y="0"/>
                  </a:cubicBezTo>
                  <a:cubicBezTo>
                    <a:pt x="27773" y="0"/>
                    <a:pt x="35784" y="8003"/>
                    <a:pt x="35784" y="1787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Graphic 4">
              <a:extLst>
                <a:ext uri="{FF2B5EF4-FFF2-40B4-BE49-F238E27FC236}">
                  <a16:creationId xmlns:a16="http://schemas.microsoft.com/office/drawing/2014/main" xmlns="" id="{91A5344B-AB36-2148-B06A-E3332C3D2B03}"/>
                </a:ext>
              </a:extLst>
            </p:cNvPr>
            <p:cNvSpPr/>
            <p:nvPr/>
          </p:nvSpPr>
          <p:spPr>
            <a:xfrm>
              <a:off x="991079" y="2979567"/>
              <a:ext cx="35783" cy="35750"/>
            </a:xfrm>
            <a:custGeom>
              <a:avLst/>
              <a:gdLst>
                <a:gd name="connsiteX0" fmla="*/ 35784 w 35783"/>
                <a:gd name="connsiteY0" fmla="*/ 17875 h 35750"/>
                <a:gd name="connsiteX1" fmla="*/ 17892 w 35783"/>
                <a:gd name="connsiteY1" fmla="*/ 35750 h 35750"/>
                <a:gd name="connsiteX2" fmla="*/ 0 w 35783"/>
                <a:gd name="connsiteY2" fmla="*/ 17875 h 35750"/>
                <a:gd name="connsiteX3" fmla="*/ 17892 w 35783"/>
                <a:gd name="connsiteY3" fmla="*/ 0 h 35750"/>
                <a:gd name="connsiteX4" fmla="*/ 35784 w 35783"/>
                <a:gd name="connsiteY4" fmla="*/ 17875 h 3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83" h="35750">
                  <a:moveTo>
                    <a:pt x="35784" y="17875"/>
                  </a:moveTo>
                  <a:cubicBezTo>
                    <a:pt x="35784" y="27747"/>
                    <a:pt x="27773" y="35750"/>
                    <a:pt x="17892" y="35750"/>
                  </a:cubicBezTo>
                  <a:cubicBezTo>
                    <a:pt x="8010" y="35750"/>
                    <a:pt x="0" y="27747"/>
                    <a:pt x="0" y="17875"/>
                  </a:cubicBezTo>
                  <a:cubicBezTo>
                    <a:pt x="0" y="8003"/>
                    <a:pt x="8010" y="0"/>
                    <a:pt x="17892" y="0"/>
                  </a:cubicBezTo>
                  <a:cubicBezTo>
                    <a:pt x="27773" y="0"/>
                    <a:pt x="35784" y="8003"/>
                    <a:pt x="35784" y="1787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Graphic 4">
              <a:extLst>
                <a:ext uri="{FF2B5EF4-FFF2-40B4-BE49-F238E27FC236}">
                  <a16:creationId xmlns:a16="http://schemas.microsoft.com/office/drawing/2014/main" xmlns="" id="{822CB578-46F6-0148-9AC9-6BEF0D3D0819}"/>
                </a:ext>
              </a:extLst>
            </p:cNvPr>
            <p:cNvSpPr/>
            <p:nvPr/>
          </p:nvSpPr>
          <p:spPr>
            <a:xfrm>
              <a:off x="905454" y="2855717"/>
              <a:ext cx="361674" cy="361333"/>
            </a:xfrm>
            <a:custGeom>
              <a:avLst/>
              <a:gdLst>
                <a:gd name="connsiteX0" fmla="*/ 180835 w 361674"/>
                <a:gd name="connsiteY0" fmla="*/ 0 h 361333"/>
                <a:gd name="connsiteX1" fmla="*/ 0 w 361674"/>
                <a:gd name="connsiteY1" fmla="*/ 180667 h 361333"/>
                <a:gd name="connsiteX2" fmla="*/ 180835 w 361674"/>
                <a:gd name="connsiteY2" fmla="*/ 361333 h 361333"/>
                <a:gd name="connsiteX3" fmla="*/ 361670 w 361674"/>
                <a:gd name="connsiteY3" fmla="*/ 180667 h 361333"/>
                <a:gd name="connsiteX4" fmla="*/ 180835 w 361674"/>
                <a:gd name="connsiteY4" fmla="*/ 0 h 361333"/>
                <a:gd name="connsiteX5" fmla="*/ 261987 w 361674"/>
                <a:gd name="connsiteY5" fmla="*/ 111081 h 361333"/>
                <a:gd name="connsiteX6" fmla="*/ 292659 w 361674"/>
                <a:gd name="connsiteY6" fmla="*/ 141724 h 361333"/>
                <a:gd name="connsiteX7" fmla="*/ 261987 w 361674"/>
                <a:gd name="connsiteY7" fmla="*/ 172368 h 361333"/>
                <a:gd name="connsiteX8" fmla="*/ 231316 w 361674"/>
                <a:gd name="connsiteY8" fmla="*/ 141724 h 361333"/>
                <a:gd name="connsiteX9" fmla="*/ 261987 w 361674"/>
                <a:gd name="connsiteY9" fmla="*/ 111081 h 361333"/>
                <a:gd name="connsiteX10" fmla="*/ 182752 w 361674"/>
                <a:gd name="connsiteY10" fmla="*/ 95760 h 361333"/>
                <a:gd name="connsiteX11" fmla="*/ 223648 w 361674"/>
                <a:gd name="connsiteY11" fmla="*/ 136617 h 361333"/>
                <a:gd name="connsiteX12" fmla="*/ 182752 w 361674"/>
                <a:gd name="connsiteY12" fmla="*/ 177475 h 361333"/>
                <a:gd name="connsiteX13" fmla="*/ 141857 w 361674"/>
                <a:gd name="connsiteY13" fmla="*/ 136617 h 361333"/>
                <a:gd name="connsiteX14" fmla="*/ 182752 w 361674"/>
                <a:gd name="connsiteY14" fmla="*/ 95760 h 361333"/>
                <a:gd name="connsiteX15" fmla="*/ 103517 w 361674"/>
                <a:gd name="connsiteY15" fmla="*/ 111081 h 361333"/>
                <a:gd name="connsiteX16" fmla="*/ 134189 w 361674"/>
                <a:gd name="connsiteY16" fmla="*/ 141724 h 361333"/>
                <a:gd name="connsiteX17" fmla="*/ 103517 w 361674"/>
                <a:gd name="connsiteY17" fmla="*/ 172368 h 361333"/>
                <a:gd name="connsiteX18" fmla="*/ 72845 w 361674"/>
                <a:gd name="connsiteY18" fmla="*/ 141724 h 361333"/>
                <a:gd name="connsiteX19" fmla="*/ 103517 w 361674"/>
                <a:gd name="connsiteY19" fmla="*/ 111081 h 361333"/>
                <a:gd name="connsiteX20" fmla="*/ 93293 w 361674"/>
                <a:gd name="connsiteY20" fmla="*/ 246422 h 361333"/>
                <a:gd name="connsiteX21" fmla="*/ 48564 w 361674"/>
                <a:gd name="connsiteY21" fmla="*/ 246422 h 361333"/>
                <a:gd name="connsiteX22" fmla="*/ 42174 w 361674"/>
                <a:gd name="connsiteY22" fmla="*/ 240038 h 361333"/>
                <a:gd name="connsiteX23" fmla="*/ 42174 w 361674"/>
                <a:gd name="connsiteY23" fmla="*/ 231100 h 361333"/>
                <a:gd name="connsiteX24" fmla="*/ 87542 w 361674"/>
                <a:gd name="connsiteY24" fmla="*/ 182582 h 361333"/>
                <a:gd name="connsiteX25" fmla="*/ 111824 w 361674"/>
                <a:gd name="connsiteY25" fmla="*/ 182582 h 361333"/>
                <a:gd name="connsiteX26" fmla="*/ 118214 w 361674"/>
                <a:gd name="connsiteY26" fmla="*/ 188966 h 361333"/>
                <a:gd name="connsiteX27" fmla="*/ 111824 w 361674"/>
                <a:gd name="connsiteY27" fmla="*/ 195350 h 361333"/>
                <a:gd name="connsiteX28" fmla="*/ 87542 w 361674"/>
                <a:gd name="connsiteY28" fmla="*/ 195350 h 361333"/>
                <a:gd name="connsiteX29" fmla="*/ 54954 w 361674"/>
                <a:gd name="connsiteY29" fmla="*/ 231100 h 361333"/>
                <a:gd name="connsiteX30" fmla="*/ 54954 w 361674"/>
                <a:gd name="connsiteY30" fmla="*/ 233654 h 361333"/>
                <a:gd name="connsiteX31" fmla="*/ 93293 w 361674"/>
                <a:gd name="connsiteY31" fmla="*/ 233654 h 361333"/>
                <a:gd name="connsiteX32" fmla="*/ 99683 w 361674"/>
                <a:gd name="connsiteY32" fmla="*/ 240038 h 361333"/>
                <a:gd name="connsiteX33" fmla="*/ 93293 w 361674"/>
                <a:gd name="connsiteY33" fmla="*/ 246422 h 361333"/>
                <a:gd name="connsiteX34" fmla="*/ 254320 w 361674"/>
                <a:gd name="connsiteY34" fmla="*/ 251529 h 361333"/>
                <a:gd name="connsiteX35" fmla="*/ 247930 w 361674"/>
                <a:gd name="connsiteY35" fmla="*/ 257913 h 361333"/>
                <a:gd name="connsiteX36" fmla="*/ 118214 w 361674"/>
                <a:gd name="connsiteY36" fmla="*/ 257913 h 361333"/>
                <a:gd name="connsiteX37" fmla="*/ 111824 w 361674"/>
                <a:gd name="connsiteY37" fmla="*/ 251529 h 361333"/>
                <a:gd name="connsiteX38" fmla="*/ 111824 w 361674"/>
                <a:gd name="connsiteY38" fmla="*/ 240676 h 361333"/>
                <a:gd name="connsiteX39" fmla="*/ 164860 w 361674"/>
                <a:gd name="connsiteY39" fmla="*/ 183859 h 361333"/>
                <a:gd name="connsiteX40" fmla="*/ 200644 w 361674"/>
                <a:gd name="connsiteY40" fmla="*/ 183859 h 361333"/>
                <a:gd name="connsiteX41" fmla="*/ 253680 w 361674"/>
                <a:gd name="connsiteY41" fmla="*/ 240676 h 361333"/>
                <a:gd name="connsiteX42" fmla="*/ 253680 w 361674"/>
                <a:gd name="connsiteY42" fmla="*/ 251529 h 361333"/>
                <a:gd name="connsiteX43" fmla="*/ 313746 w 361674"/>
                <a:gd name="connsiteY43" fmla="*/ 246422 h 361333"/>
                <a:gd name="connsiteX44" fmla="*/ 269016 w 361674"/>
                <a:gd name="connsiteY44" fmla="*/ 246422 h 361333"/>
                <a:gd name="connsiteX45" fmla="*/ 262626 w 361674"/>
                <a:gd name="connsiteY45" fmla="*/ 240038 h 361333"/>
                <a:gd name="connsiteX46" fmla="*/ 269016 w 361674"/>
                <a:gd name="connsiteY46" fmla="*/ 233654 h 361333"/>
                <a:gd name="connsiteX47" fmla="*/ 307356 w 361674"/>
                <a:gd name="connsiteY47" fmla="*/ 233654 h 361333"/>
                <a:gd name="connsiteX48" fmla="*/ 307356 w 361674"/>
                <a:gd name="connsiteY48" fmla="*/ 231100 h 361333"/>
                <a:gd name="connsiteX49" fmla="*/ 274767 w 361674"/>
                <a:gd name="connsiteY49" fmla="*/ 195350 h 361333"/>
                <a:gd name="connsiteX50" fmla="*/ 250486 w 361674"/>
                <a:gd name="connsiteY50" fmla="*/ 195350 h 361333"/>
                <a:gd name="connsiteX51" fmla="*/ 244096 w 361674"/>
                <a:gd name="connsiteY51" fmla="*/ 188966 h 361333"/>
                <a:gd name="connsiteX52" fmla="*/ 250486 w 361674"/>
                <a:gd name="connsiteY52" fmla="*/ 182582 h 361333"/>
                <a:gd name="connsiteX53" fmla="*/ 274767 w 361674"/>
                <a:gd name="connsiteY53" fmla="*/ 182582 h 361333"/>
                <a:gd name="connsiteX54" fmla="*/ 320136 w 361674"/>
                <a:gd name="connsiteY54" fmla="*/ 231100 h 361333"/>
                <a:gd name="connsiteX55" fmla="*/ 320136 w 361674"/>
                <a:gd name="connsiteY55" fmla="*/ 240038 h 361333"/>
                <a:gd name="connsiteX56" fmla="*/ 313746 w 361674"/>
                <a:gd name="connsiteY56" fmla="*/ 24642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61674" h="361333">
                  <a:moveTo>
                    <a:pt x="180835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2309" y="80438"/>
                    <a:pt x="281157" y="0"/>
                    <a:pt x="180835" y="0"/>
                  </a:cubicBezTo>
                  <a:close/>
                  <a:moveTo>
                    <a:pt x="261987" y="111081"/>
                  </a:moveTo>
                  <a:cubicBezTo>
                    <a:pt x="279240" y="111081"/>
                    <a:pt x="292659" y="125126"/>
                    <a:pt x="292659" y="141724"/>
                  </a:cubicBezTo>
                  <a:cubicBezTo>
                    <a:pt x="292659" y="158323"/>
                    <a:pt x="278601" y="172368"/>
                    <a:pt x="261987" y="172368"/>
                  </a:cubicBezTo>
                  <a:cubicBezTo>
                    <a:pt x="245374" y="172368"/>
                    <a:pt x="231316" y="158323"/>
                    <a:pt x="231316" y="141724"/>
                  </a:cubicBezTo>
                  <a:cubicBezTo>
                    <a:pt x="231316" y="125126"/>
                    <a:pt x="244735" y="111081"/>
                    <a:pt x="261987" y="111081"/>
                  </a:cubicBezTo>
                  <a:close/>
                  <a:moveTo>
                    <a:pt x="182752" y="95760"/>
                  </a:moveTo>
                  <a:cubicBezTo>
                    <a:pt x="205117" y="95760"/>
                    <a:pt x="223648" y="114273"/>
                    <a:pt x="223648" y="136617"/>
                  </a:cubicBezTo>
                  <a:cubicBezTo>
                    <a:pt x="223648" y="158961"/>
                    <a:pt x="205117" y="177475"/>
                    <a:pt x="182752" y="177475"/>
                  </a:cubicBezTo>
                  <a:cubicBezTo>
                    <a:pt x="160387" y="177475"/>
                    <a:pt x="141857" y="158961"/>
                    <a:pt x="141857" y="136617"/>
                  </a:cubicBezTo>
                  <a:cubicBezTo>
                    <a:pt x="141857" y="114273"/>
                    <a:pt x="160387" y="95760"/>
                    <a:pt x="182752" y="95760"/>
                  </a:cubicBezTo>
                  <a:close/>
                  <a:moveTo>
                    <a:pt x="103517" y="111081"/>
                  </a:moveTo>
                  <a:cubicBezTo>
                    <a:pt x="120770" y="111081"/>
                    <a:pt x="134189" y="125126"/>
                    <a:pt x="134189" y="141724"/>
                  </a:cubicBezTo>
                  <a:cubicBezTo>
                    <a:pt x="134189" y="158323"/>
                    <a:pt x="120131" y="172368"/>
                    <a:pt x="103517" y="172368"/>
                  </a:cubicBezTo>
                  <a:cubicBezTo>
                    <a:pt x="86903" y="172368"/>
                    <a:pt x="72845" y="158323"/>
                    <a:pt x="72845" y="141724"/>
                  </a:cubicBezTo>
                  <a:cubicBezTo>
                    <a:pt x="72845" y="125126"/>
                    <a:pt x="86264" y="111081"/>
                    <a:pt x="103517" y="111081"/>
                  </a:cubicBezTo>
                  <a:close/>
                  <a:moveTo>
                    <a:pt x="93293" y="246422"/>
                  </a:moveTo>
                  <a:lnTo>
                    <a:pt x="48564" y="246422"/>
                  </a:lnTo>
                  <a:cubicBezTo>
                    <a:pt x="44730" y="246422"/>
                    <a:pt x="42174" y="243868"/>
                    <a:pt x="42174" y="240038"/>
                  </a:cubicBezTo>
                  <a:lnTo>
                    <a:pt x="42174" y="231100"/>
                  </a:lnTo>
                  <a:cubicBezTo>
                    <a:pt x="42174" y="204287"/>
                    <a:pt x="62621" y="182582"/>
                    <a:pt x="87542" y="182582"/>
                  </a:cubicBezTo>
                  <a:lnTo>
                    <a:pt x="111824" y="182582"/>
                  </a:lnTo>
                  <a:cubicBezTo>
                    <a:pt x="115658" y="182582"/>
                    <a:pt x="118214" y="185135"/>
                    <a:pt x="118214" y="188966"/>
                  </a:cubicBezTo>
                  <a:cubicBezTo>
                    <a:pt x="118214" y="192796"/>
                    <a:pt x="115658" y="195350"/>
                    <a:pt x="111824" y="195350"/>
                  </a:cubicBezTo>
                  <a:lnTo>
                    <a:pt x="87542" y="195350"/>
                  </a:lnTo>
                  <a:cubicBezTo>
                    <a:pt x="69650" y="195350"/>
                    <a:pt x="54954" y="211310"/>
                    <a:pt x="54954" y="231100"/>
                  </a:cubicBezTo>
                  <a:lnTo>
                    <a:pt x="54954" y="233654"/>
                  </a:lnTo>
                  <a:lnTo>
                    <a:pt x="93293" y="233654"/>
                  </a:lnTo>
                  <a:cubicBezTo>
                    <a:pt x="97127" y="233654"/>
                    <a:pt x="99683" y="236207"/>
                    <a:pt x="99683" y="240038"/>
                  </a:cubicBezTo>
                  <a:cubicBezTo>
                    <a:pt x="99683" y="243868"/>
                    <a:pt x="97127" y="246422"/>
                    <a:pt x="93293" y="246422"/>
                  </a:cubicBezTo>
                  <a:close/>
                  <a:moveTo>
                    <a:pt x="254320" y="251529"/>
                  </a:moveTo>
                  <a:cubicBezTo>
                    <a:pt x="254320" y="255359"/>
                    <a:pt x="251764" y="257913"/>
                    <a:pt x="247930" y="257913"/>
                  </a:cubicBezTo>
                  <a:lnTo>
                    <a:pt x="118214" y="257913"/>
                  </a:lnTo>
                  <a:cubicBezTo>
                    <a:pt x="114380" y="257913"/>
                    <a:pt x="111824" y="255359"/>
                    <a:pt x="111824" y="251529"/>
                  </a:cubicBezTo>
                  <a:lnTo>
                    <a:pt x="111824" y="240676"/>
                  </a:lnTo>
                  <a:cubicBezTo>
                    <a:pt x="111824" y="209395"/>
                    <a:pt x="135467" y="183859"/>
                    <a:pt x="164860" y="183859"/>
                  </a:cubicBezTo>
                  <a:lnTo>
                    <a:pt x="200644" y="183859"/>
                  </a:lnTo>
                  <a:cubicBezTo>
                    <a:pt x="230038" y="183859"/>
                    <a:pt x="253680" y="209395"/>
                    <a:pt x="253680" y="240676"/>
                  </a:cubicBezTo>
                  <a:lnTo>
                    <a:pt x="253680" y="251529"/>
                  </a:lnTo>
                  <a:close/>
                  <a:moveTo>
                    <a:pt x="313746" y="246422"/>
                  </a:moveTo>
                  <a:lnTo>
                    <a:pt x="269016" y="246422"/>
                  </a:lnTo>
                  <a:cubicBezTo>
                    <a:pt x="265182" y="246422"/>
                    <a:pt x="262626" y="243868"/>
                    <a:pt x="262626" y="240038"/>
                  </a:cubicBezTo>
                  <a:cubicBezTo>
                    <a:pt x="262626" y="236207"/>
                    <a:pt x="265182" y="233654"/>
                    <a:pt x="269016" y="233654"/>
                  </a:cubicBezTo>
                  <a:lnTo>
                    <a:pt x="307356" y="233654"/>
                  </a:lnTo>
                  <a:lnTo>
                    <a:pt x="307356" y="231100"/>
                  </a:lnTo>
                  <a:cubicBezTo>
                    <a:pt x="307356" y="211310"/>
                    <a:pt x="292659" y="195350"/>
                    <a:pt x="274767" y="195350"/>
                  </a:cubicBezTo>
                  <a:lnTo>
                    <a:pt x="250486" y="195350"/>
                  </a:lnTo>
                  <a:cubicBezTo>
                    <a:pt x="246652" y="195350"/>
                    <a:pt x="244096" y="192796"/>
                    <a:pt x="244096" y="188966"/>
                  </a:cubicBezTo>
                  <a:cubicBezTo>
                    <a:pt x="244096" y="185135"/>
                    <a:pt x="246652" y="182582"/>
                    <a:pt x="250486" y="182582"/>
                  </a:cubicBezTo>
                  <a:lnTo>
                    <a:pt x="274767" y="182582"/>
                  </a:lnTo>
                  <a:cubicBezTo>
                    <a:pt x="299688" y="182582"/>
                    <a:pt x="320136" y="204287"/>
                    <a:pt x="320136" y="231100"/>
                  </a:cubicBezTo>
                  <a:lnTo>
                    <a:pt x="320136" y="240038"/>
                  </a:lnTo>
                  <a:cubicBezTo>
                    <a:pt x="320136" y="243868"/>
                    <a:pt x="317580" y="246422"/>
                    <a:pt x="313746" y="24642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6" name="Freeform 115"/>
          <p:cNvSpPr/>
          <p:nvPr/>
        </p:nvSpPr>
        <p:spPr bwMode="gray">
          <a:xfrm>
            <a:off x="6973570" y="3432810"/>
            <a:ext cx="4761230" cy="356870"/>
          </a:xfrm>
          <a:custGeom>
            <a:avLst/>
            <a:gdLst>
              <a:gd name="connsiteX0" fmla="*/ 4836160 w 4836160"/>
              <a:gd name="connsiteY0" fmla="*/ 0 h 254000"/>
              <a:gd name="connsiteX1" fmla="*/ 995680 w 4836160"/>
              <a:gd name="connsiteY1" fmla="*/ 0 h 254000"/>
              <a:gd name="connsiteX2" fmla="*/ 0 w 4836160"/>
              <a:gd name="connsiteY2" fmla="*/ 254000 h 254000"/>
              <a:gd name="connsiteX0" fmla="*/ 4744720 w 4744720"/>
              <a:gd name="connsiteY0" fmla="*/ 0 h 345440"/>
              <a:gd name="connsiteX1" fmla="*/ 904240 w 4744720"/>
              <a:gd name="connsiteY1" fmla="*/ 0 h 345440"/>
              <a:gd name="connsiteX2" fmla="*/ 0 w 4744720"/>
              <a:gd name="connsiteY2" fmla="*/ 345440 h 345440"/>
              <a:gd name="connsiteX0" fmla="*/ 4782820 w 4782820"/>
              <a:gd name="connsiteY0" fmla="*/ 276860 h 276860"/>
              <a:gd name="connsiteX1" fmla="*/ 942340 w 4782820"/>
              <a:gd name="connsiteY1" fmla="*/ 276860 h 276860"/>
              <a:gd name="connsiteX2" fmla="*/ 0 w 4782820"/>
              <a:gd name="connsiteY2" fmla="*/ 0 h 276860"/>
              <a:gd name="connsiteX0" fmla="*/ 4776470 w 4776470"/>
              <a:gd name="connsiteY0" fmla="*/ 270510 h 270510"/>
              <a:gd name="connsiteX1" fmla="*/ 935990 w 4776470"/>
              <a:gd name="connsiteY1" fmla="*/ 270510 h 270510"/>
              <a:gd name="connsiteX2" fmla="*/ 0 w 4776470"/>
              <a:gd name="connsiteY2" fmla="*/ 0 h 270510"/>
              <a:gd name="connsiteX0" fmla="*/ 4744720 w 4744720"/>
              <a:gd name="connsiteY0" fmla="*/ 270510 h 270510"/>
              <a:gd name="connsiteX1" fmla="*/ 904240 w 4744720"/>
              <a:gd name="connsiteY1" fmla="*/ 270510 h 270510"/>
              <a:gd name="connsiteX2" fmla="*/ 0 w 4744720"/>
              <a:gd name="connsiteY2" fmla="*/ 0 h 270510"/>
              <a:gd name="connsiteX0" fmla="*/ 4725670 w 4725670"/>
              <a:gd name="connsiteY0" fmla="*/ 270510 h 270510"/>
              <a:gd name="connsiteX1" fmla="*/ 885190 w 4725670"/>
              <a:gd name="connsiteY1" fmla="*/ 270510 h 270510"/>
              <a:gd name="connsiteX2" fmla="*/ 0 w 4725670"/>
              <a:gd name="connsiteY2" fmla="*/ 0 h 270510"/>
              <a:gd name="connsiteX0" fmla="*/ 4791710 w 4791710"/>
              <a:gd name="connsiteY0" fmla="*/ 361950 h 361950"/>
              <a:gd name="connsiteX1" fmla="*/ 951230 w 4791710"/>
              <a:gd name="connsiteY1" fmla="*/ 361950 h 361950"/>
              <a:gd name="connsiteX2" fmla="*/ 0 w 4791710"/>
              <a:gd name="connsiteY2" fmla="*/ 0 h 361950"/>
              <a:gd name="connsiteX0" fmla="*/ 4761230 w 4761230"/>
              <a:gd name="connsiteY0" fmla="*/ 356870 h 356870"/>
              <a:gd name="connsiteX1" fmla="*/ 920750 w 4761230"/>
              <a:gd name="connsiteY1" fmla="*/ 356870 h 356870"/>
              <a:gd name="connsiteX2" fmla="*/ 0 w 4761230"/>
              <a:gd name="connsiteY2" fmla="*/ 0 h 356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1230" h="356870">
                <a:moveTo>
                  <a:pt x="4761230" y="356870"/>
                </a:moveTo>
                <a:lnTo>
                  <a:pt x="920750" y="35687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tailEnd type="oval" w="lg" len="lg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Freeform 116"/>
          <p:cNvSpPr/>
          <p:nvPr/>
        </p:nvSpPr>
        <p:spPr bwMode="gray">
          <a:xfrm>
            <a:off x="6555072" y="4274820"/>
            <a:ext cx="5189888" cy="2077720"/>
          </a:xfrm>
          <a:custGeom>
            <a:avLst/>
            <a:gdLst>
              <a:gd name="connsiteX0" fmla="*/ 0 w 5262880"/>
              <a:gd name="connsiteY0" fmla="*/ 0 h 2082800"/>
              <a:gd name="connsiteX1" fmla="*/ 2082800 w 5262880"/>
              <a:gd name="connsiteY1" fmla="*/ 2082800 h 2082800"/>
              <a:gd name="connsiteX2" fmla="*/ 5262880 w 5262880"/>
              <a:gd name="connsiteY2" fmla="*/ 2082800 h 2082800"/>
              <a:gd name="connsiteX0" fmla="*/ 0 w 5234004"/>
              <a:gd name="connsiteY0" fmla="*/ 0 h 2102050"/>
              <a:gd name="connsiteX1" fmla="*/ 2053924 w 5234004"/>
              <a:gd name="connsiteY1" fmla="*/ 2102050 h 2102050"/>
              <a:gd name="connsiteX2" fmla="*/ 5234004 w 5234004"/>
              <a:gd name="connsiteY2" fmla="*/ 2102050 h 2102050"/>
              <a:gd name="connsiteX0" fmla="*/ 0 w 5205128"/>
              <a:gd name="connsiteY0" fmla="*/ 0 h 2082800"/>
              <a:gd name="connsiteX1" fmla="*/ 2025048 w 5205128"/>
              <a:gd name="connsiteY1" fmla="*/ 2082800 h 2082800"/>
              <a:gd name="connsiteX2" fmla="*/ 5205128 w 5205128"/>
              <a:gd name="connsiteY2" fmla="*/ 2082800 h 2082800"/>
              <a:gd name="connsiteX0" fmla="*/ 0 w 5189888"/>
              <a:gd name="connsiteY0" fmla="*/ 0 h 2077720"/>
              <a:gd name="connsiteX1" fmla="*/ 2009808 w 5189888"/>
              <a:gd name="connsiteY1" fmla="*/ 2077720 h 2077720"/>
              <a:gd name="connsiteX2" fmla="*/ 5189888 w 5189888"/>
              <a:gd name="connsiteY2" fmla="*/ 2077720 h 207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89888" h="2077720">
                <a:moveTo>
                  <a:pt x="0" y="0"/>
                </a:moveTo>
                <a:lnTo>
                  <a:pt x="2009808" y="2077720"/>
                </a:lnTo>
                <a:lnTo>
                  <a:pt x="5189888" y="207772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oval" w="lg" len="lg"/>
            <a:tailEnd type="none" w="lg" len="lg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Freeform 118"/>
          <p:cNvSpPr/>
          <p:nvPr/>
        </p:nvSpPr>
        <p:spPr bwMode="gray">
          <a:xfrm>
            <a:off x="5562600" y="1584825"/>
            <a:ext cx="6172200" cy="929372"/>
          </a:xfrm>
          <a:custGeom>
            <a:avLst/>
            <a:gdLst>
              <a:gd name="connsiteX0" fmla="*/ 6172200 w 6172200"/>
              <a:gd name="connsiteY0" fmla="*/ 0 h 1016000"/>
              <a:gd name="connsiteX1" fmla="*/ 0 w 6172200"/>
              <a:gd name="connsiteY1" fmla="*/ 0 h 1016000"/>
              <a:gd name="connsiteX2" fmla="*/ 355600 w 6172200"/>
              <a:gd name="connsiteY2" fmla="*/ 1016000 h 1016000"/>
              <a:gd name="connsiteX0" fmla="*/ 6172200 w 6172200"/>
              <a:gd name="connsiteY0" fmla="*/ 0 h 919747"/>
              <a:gd name="connsiteX1" fmla="*/ 0 w 6172200"/>
              <a:gd name="connsiteY1" fmla="*/ 0 h 919747"/>
              <a:gd name="connsiteX2" fmla="*/ 288224 w 6172200"/>
              <a:gd name="connsiteY2" fmla="*/ 919747 h 919747"/>
              <a:gd name="connsiteX0" fmla="*/ 6172200 w 6172200"/>
              <a:gd name="connsiteY0" fmla="*/ 0 h 929372"/>
              <a:gd name="connsiteX1" fmla="*/ 0 w 6172200"/>
              <a:gd name="connsiteY1" fmla="*/ 0 h 929372"/>
              <a:gd name="connsiteX2" fmla="*/ 355601 w 6172200"/>
              <a:gd name="connsiteY2" fmla="*/ 929372 h 929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72200" h="929372">
                <a:moveTo>
                  <a:pt x="6172200" y="0"/>
                </a:moveTo>
                <a:lnTo>
                  <a:pt x="0" y="0"/>
                </a:lnTo>
                <a:lnTo>
                  <a:pt x="355601" y="929372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headEnd type="none" w="lg" len="lg"/>
            <a:tailEnd type="oval" w="lg" len="lg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Freeform 126"/>
          <p:cNvSpPr/>
          <p:nvPr/>
        </p:nvSpPr>
        <p:spPr bwMode="gray">
          <a:xfrm flipV="1">
            <a:off x="1270000" y="4275893"/>
            <a:ext cx="4548444" cy="2075251"/>
          </a:xfrm>
          <a:custGeom>
            <a:avLst/>
            <a:gdLst>
              <a:gd name="connsiteX0" fmla="*/ 0 w 4140200"/>
              <a:gd name="connsiteY0" fmla="*/ 0 h 190500"/>
              <a:gd name="connsiteX1" fmla="*/ 3327400 w 4140200"/>
              <a:gd name="connsiteY1" fmla="*/ 0 h 190500"/>
              <a:gd name="connsiteX2" fmla="*/ 4140200 w 4140200"/>
              <a:gd name="connsiteY2" fmla="*/ 190500 h 190500"/>
              <a:gd name="connsiteX0" fmla="*/ 0 w 4114800"/>
              <a:gd name="connsiteY0" fmla="*/ 0 h 180975"/>
              <a:gd name="connsiteX1" fmla="*/ 3327400 w 4114800"/>
              <a:gd name="connsiteY1" fmla="*/ 0 h 180975"/>
              <a:gd name="connsiteX2" fmla="*/ 4114800 w 4114800"/>
              <a:gd name="connsiteY2" fmla="*/ 180975 h 180975"/>
              <a:gd name="connsiteX0" fmla="*/ 0 w 4151577"/>
              <a:gd name="connsiteY0" fmla="*/ 0 h 193611"/>
              <a:gd name="connsiteX1" fmla="*/ 3327400 w 4151577"/>
              <a:gd name="connsiteY1" fmla="*/ 0 h 193611"/>
              <a:gd name="connsiteX2" fmla="*/ 4151577 w 4151577"/>
              <a:gd name="connsiteY2" fmla="*/ 193611 h 193611"/>
              <a:gd name="connsiteX0" fmla="*/ 0 w 4125308"/>
              <a:gd name="connsiteY0" fmla="*/ 0 h 174658"/>
              <a:gd name="connsiteX1" fmla="*/ 3327400 w 4125308"/>
              <a:gd name="connsiteY1" fmla="*/ 0 h 174658"/>
              <a:gd name="connsiteX2" fmla="*/ 4125308 w 4125308"/>
              <a:gd name="connsiteY2" fmla="*/ 174658 h 174658"/>
              <a:gd name="connsiteX0" fmla="*/ 0 w 4141069"/>
              <a:gd name="connsiteY0" fmla="*/ 0 h 174658"/>
              <a:gd name="connsiteX1" fmla="*/ 3327400 w 4141069"/>
              <a:gd name="connsiteY1" fmla="*/ 0 h 174658"/>
              <a:gd name="connsiteX2" fmla="*/ 4141069 w 4141069"/>
              <a:gd name="connsiteY2" fmla="*/ 174658 h 174658"/>
              <a:gd name="connsiteX0" fmla="*/ 0 w 4272414"/>
              <a:gd name="connsiteY0" fmla="*/ 267587 h 267587"/>
              <a:gd name="connsiteX1" fmla="*/ 3327400 w 4272414"/>
              <a:gd name="connsiteY1" fmla="*/ 267587 h 267587"/>
              <a:gd name="connsiteX2" fmla="*/ 4272414 w 4272414"/>
              <a:gd name="connsiteY2" fmla="*/ 0 h 267587"/>
              <a:gd name="connsiteX0" fmla="*/ 0 w 4312901"/>
              <a:gd name="connsiteY0" fmla="*/ 267587 h 267587"/>
              <a:gd name="connsiteX1" fmla="*/ 4312901 w 4312901"/>
              <a:gd name="connsiteY1" fmla="*/ 255617 h 267587"/>
              <a:gd name="connsiteX2" fmla="*/ 4272414 w 4312901"/>
              <a:gd name="connsiteY2" fmla="*/ 0 h 267587"/>
              <a:gd name="connsiteX0" fmla="*/ 0 w 4760187"/>
              <a:gd name="connsiteY0" fmla="*/ 11970 h 2629286"/>
              <a:gd name="connsiteX1" fmla="*/ 4312901 w 4760187"/>
              <a:gd name="connsiteY1" fmla="*/ 0 h 2629286"/>
              <a:gd name="connsiteX2" fmla="*/ 4760187 w 4760187"/>
              <a:gd name="connsiteY2" fmla="*/ 2629286 h 2629286"/>
              <a:gd name="connsiteX0" fmla="*/ 0 w 4730323"/>
              <a:gd name="connsiteY0" fmla="*/ 11970 h 2545492"/>
              <a:gd name="connsiteX1" fmla="*/ 4312901 w 4730323"/>
              <a:gd name="connsiteY1" fmla="*/ 0 h 2545492"/>
              <a:gd name="connsiteX2" fmla="*/ 4730323 w 4730323"/>
              <a:gd name="connsiteY2" fmla="*/ 2545492 h 2545492"/>
              <a:gd name="connsiteX0" fmla="*/ 0 w 4730323"/>
              <a:gd name="connsiteY0" fmla="*/ 0 h 2533522"/>
              <a:gd name="connsiteX1" fmla="*/ 4312901 w 4730323"/>
              <a:gd name="connsiteY1" fmla="*/ 11972 h 2533522"/>
              <a:gd name="connsiteX2" fmla="*/ 4730323 w 4730323"/>
              <a:gd name="connsiteY2" fmla="*/ 2533522 h 2533522"/>
              <a:gd name="connsiteX0" fmla="*/ 0 w 4730323"/>
              <a:gd name="connsiteY0" fmla="*/ 0 h 2533522"/>
              <a:gd name="connsiteX1" fmla="*/ 4322855 w 4730323"/>
              <a:gd name="connsiteY1" fmla="*/ 1 h 2533522"/>
              <a:gd name="connsiteX2" fmla="*/ 4730323 w 4730323"/>
              <a:gd name="connsiteY2" fmla="*/ 2533522 h 2533522"/>
              <a:gd name="connsiteX0" fmla="*/ 0 w 4704054"/>
              <a:gd name="connsiteY0" fmla="*/ 0 h 2580905"/>
              <a:gd name="connsiteX1" fmla="*/ 4322855 w 4704054"/>
              <a:gd name="connsiteY1" fmla="*/ 1 h 2580905"/>
              <a:gd name="connsiteX2" fmla="*/ 4704054 w 4704054"/>
              <a:gd name="connsiteY2" fmla="*/ 2580905 h 2580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04054" h="2580905">
                <a:moveTo>
                  <a:pt x="0" y="0"/>
                </a:moveTo>
                <a:lnTo>
                  <a:pt x="4322855" y="1"/>
                </a:lnTo>
                <a:cubicBezTo>
                  <a:pt x="4458678" y="844508"/>
                  <a:pt x="4568231" y="1736398"/>
                  <a:pt x="4704054" y="2580905"/>
                </a:cubicBez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  <a:tailEnd type="oval" w="lg" len="lg"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009014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gray">
          <a:xfrm>
            <a:off x="-2" y="0"/>
            <a:ext cx="12192001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spPr>
        <p:txBody>
          <a:bodyPr vert="horz" lIns="36000" tIns="36000" rIns="36000" bIns="3600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53287" y="1555419"/>
            <a:ext cx="4931018" cy="1795363"/>
          </a:xfrm>
        </p:spPr>
        <p:txBody>
          <a:bodyPr anchor="ctr">
            <a:spAutoFit/>
          </a:bodyPr>
          <a:lstStyle/>
          <a:p>
            <a:pPr>
              <a:lnSpc>
                <a:spcPts val="7000"/>
              </a:lnSpc>
            </a:pPr>
            <a:r>
              <a:rPr lang="ru-RU" sz="6600" dirty="0"/>
              <a:t>Наши контакт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5600" y="1454984"/>
            <a:ext cx="2641600" cy="19962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2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60700" y="1445100"/>
            <a:ext cx="0" cy="20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031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ши контакты</a:t>
            </a:r>
            <a:endParaRPr lang="en-US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3163" y="0"/>
            <a:ext cx="5943600" cy="6865620"/>
          </a:xfrm>
          <a:prstGeom prst="rect">
            <a:avLst/>
          </a:prstGeom>
        </p:spPr>
      </p:pic>
      <p:sp>
        <p:nvSpPr>
          <p:cNvPr id="42" name="object 3"/>
          <p:cNvSpPr txBox="1"/>
          <p:nvPr/>
        </p:nvSpPr>
        <p:spPr>
          <a:xfrm>
            <a:off x="474548" y="1860755"/>
            <a:ext cx="1692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vk.com/delret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Trebuchet MS"/>
            </a:endParaRPr>
          </a:p>
        </p:txBody>
      </p:sp>
      <p:sp>
        <p:nvSpPr>
          <p:cNvPr id="43" name="object 4"/>
          <p:cNvSpPr txBox="1"/>
          <p:nvPr/>
        </p:nvSpPr>
        <p:spPr>
          <a:xfrm>
            <a:off x="3115312" y="1860755"/>
            <a:ext cx="1692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delret.ru/career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Trebuchet MS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474548" y="2170772"/>
            <a:ext cx="1440000" cy="1440000"/>
            <a:chOff x="669328" y="3428072"/>
            <a:chExt cx="2863215" cy="2863304"/>
          </a:xfrm>
        </p:grpSpPr>
        <p:sp>
          <p:nvSpPr>
            <p:cNvPr id="55" name="object 7"/>
            <p:cNvSpPr/>
            <p:nvPr/>
          </p:nvSpPr>
          <p:spPr>
            <a:xfrm>
              <a:off x="669328" y="3428072"/>
              <a:ext cx="802005" cy="802005"/>
            </a:xfrm>
            <a:custGeom>
              <a:avLst/>
              <a:gdLst/>
              <a:ahLst/>
              <a:cxnLst/>
              <a:rect l="l" t="t" r="r" b="b"/>
              <a:pathLst>
                <a:path w="802005" h="802004">
                  <a:moveTo>
                    <a:pt x="343535" y="229031"/>
                  </a:moveTo>
                  <a:lnTo>
                    <a:pt x="229031" y="229031"/>
                  </a:lnTo>
                  <a:lnTo>
                    <a:pt x="229031" y="572579"/>
                  </a:lnTo>
                  <a:lnTo>
                    <a:pt x="343535" y="572579"/>
                  </a:lnTo>
                  <a:lnTo>
                    <a:pt x="343535" y="229031"/>
                  </a:lnTo>
                  <a:close/>
                </a:path>
                <a:path w="802005" h="802004">
                  <a:moveTo>
                    <a:pt x="343535" y="0"/>
                  </a:moveTo>
                  <a:lnTo>
                    <a:pt x="229031" y="0"/>
                  </a:lnTo>
                  <a:lnTo>
                    <a:pt x="114515" y="0"/>
                  </a:lnTo>
                  <a:lnTo>
                    <a:pt x="0" y="0"/>
                  </a:lnTo>
                  <a:lnTo>
                    <a:pt x="0" y="687095"/>
                  </a:lnTo>
                  <a:lnTo>
                    <a:pt x="0" y="801611"/>
                  </a:lnTo>
                  <a:lnTo>
                    <a:pt x="114515" y="801611"/>
                  </a:lnTo>
                  <a:lnTo>
                    <a:pt x="229031" y="801611"/>
                  </a:lnTo>
                  <a:lnTo>
                    <a:pt x="343535" y="801611"/>
                  </a:lnTo>
                  <a:lnTo>
                    <a:pt x="343535" y="687095"/>
                  </a:lnTo>
                  <a:lnTo>
                    <a:pt x="229031" y="687095"/>
                  </a:lnTo>
                  <a:lnTo>
                    <a:pt x="114515" y="687095"/>
                  </a:lnTo>
                  <a:lnTo>
                    <a:pt x="114515" y="114515"/>
                  </a:lnTo>
                  <a:lnTo>
                    <a:pt x="229031" y="114515"/>
                  </a:lnTo>
                  <a:lnTo>
                    <a:pt x="343535" y="114515"/>
                  </a:lnTo>
                  <a:lnTo>
                    <a:pt x="343535" y="0"/>
                  </a:lnTo>
                  <a:close/>
                </a:path>
                <a:path w="802005" h="802004">
                  <a:moveTo>
                    <a:pt x="572579" y="229031"/>
                  </a:moveTo>
                  <a:lnTo>
                    <a:pt x="458063" y="229031"/>
                  </a:lnTo>
                  <a:lnTo>
                    <a:pt x="343547" y="229031"/>
                  </a:lnTo>
                  <a:lnTo>
                    <a:pt x="343547" y="572579"/>
                  </a:lnTo>
                  <a:lnTo>
                    <a:pt x="458063" y="572579"/>
                  </a:lnTo>
                  <a:lnTo>
                    <a:pt x="572579" y="572579"/>
                  </a:lnTo>
                  <a:lnTo>
                    <a:pt x="572579" y="229031"/>
                  </a:lnTo>
                  <a:close/>
                </a:path>
                <a:path w="802005" h="802004">
                  <a:moveTo>
                    <a:pt x="687082" y="687095"/>
                  </a:moveTo>
                  <a:lnTo>
                    <a:pt x="572579" y="687095"/>
                  </a:lnTo>
                  <a:lnTo>
                    <a:pt x="458063" y="687095"/>
                  </a:lnTo>
                  <a:lnTo>
                    <a:pt x="343547" y="687095"/>
                  </a:lnTo>
                  <a:lnTo>
                    <a:pt x="343547" y="801611"/>
                  </a:lnTo>
                  <a:lnTo>
                    <a:pt x="458063" y="801611"/>
                  </a:lnTo>
                  <a:lnTo>
                    <a:pt x="572579" y="801611"/>
                  </a:lnTo>
                  <a:lnTo>
                    <a:pt x="687082" y="801611"/>
                  </a:lnTo>
                  <a:lnTo>
                    <a:pt x="687082" y="687095"/>
                  </a:lnTo>
                  <a:close/>
                </a:path>
                <a:path w="802005" h="802004">
                  <a:moveTo>
                    <a:pt x="687082" y="0"/>
                  </a:moveTo>
                  <a:lnTo>
                    <a:pt x="572579" y="0"/>
                  </a:lnTo>
                  <a:lnTo>
                    <a:pt x="458063" y="0"/>
                  </a:lnTo>
                  <a:lnTo>
                    <a:pt x="343547" y="0"/>
                  </a:lnTo>
                  <a:lnTo>
                    <a:pt x="343547" y="114515"/>
                  </a:lnTo>
                  <a:lnTo>
                    <a:pt x="458063" y="114515"/>
                  </a:lnTo>
                  <a:lnTo>
                    <a:pt x="572579" y="114515"/>
                  </a:lnTo>
                  <a:lnTo>
                    <a:pt x="687082" y="114515"/>
                  </a:lnTo>
                  <a:lnTo>
                    <a:pt x="687082" y="0"/>
                  </a:lnTo>
                  <a:close/>
                </a:path>
                <a:path w="802005" h="802004">
                  <a:moveTo>
                    <a:pt x="801611" y="0"/>
                  </a:moveTo>
                  <a:lnTo>
                    <a:pt x="687095" y="0"/>
                  </a:lnTo>
                  <a:lnTo>
                    <a:pt x="687095" y="687095"/>
                  </a:lnTo>
                  <a:lnTo>
                    <a:pt x="687095" y="801611"/>
                  </a:lnTo>
                  <a:lnTo>
                    <a:pt x="801611" y="801611"/>
                  </a:lnTo>
                  <a:lnTo>
                    <a:pt x="801611" y="687108"/>
                  </a:lnTo>
                  <a:lnTo>
                    <a:pt x="801611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object 8"/>
            <p:cNvSpPr/>
            <p:nvPr/>
          </p:nvSpPr>
          <p:spPr>
            <a:xfrm>
              <a:off x="669328" y="4344212"/>
              <a:ext cx="114935" cy="114935"/>
            </a:xfrm>
            <a:custGeom>
              <a:avLst/>
              <a:gdLst/>
              <a:ahLst/>
              <a:cxnLst/>
              <a:rect l="l" t="t" r="r" b="b"/>
              <a:pathLst>
                <a:path w="114934" h="114935">
                  <a:moveTo>
                    <a:pt x="114515" y="0"/>
                  </a:moveTo>
                  <a:lnTo>
                    <a:pt x="0" y="0"/>
                  </a:lnTo>
                  <a:lnTo>
                    <a:pt x="0" y="114515"/>
                  </a:lnTo>
                  <a:lnTo>
                    <a:pt x="114515" y="114515"/>
                  </a:lnTo>
                  <a:lnTo>
                    <a:pt x="114515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7" name="object 9"/>
            <p:cNvGrpSpPr/>
            <p:nvPr/>
          </p:nvGrpSpPr>
          <p:grpSpPr>
            <a:xfrm>
              <a:off x="669328" y="3428072"/>
              <a:ext cx="2863215" cy="2863215"/>
              <a:chOff x="669328" y="3428072"/>
              <a:chExt cx="2863215" cy="2863215"/>
            </a:xfrm>
          </p:grpSpPr>
          <p:sp>
            <p:nvSpPr>
              <p:cNvPr id="60" name="object 10"/>
              <p:cNvSpPr/>
              <p:nvPr/>
            </p:nvSpPr>
            <p:spPr>
              <a:xfrm>
                <a:off x="669328" y="3428072"/>
                <a:ext cx="1603375" cy="2863215"/>
              </a:xfrm>
              <a:custGeom>
                <a:avLst/>
                <a:gdLst/>
                <a:ahLst/>
                <a:cxnLst/>
                <a:rect l="l" t="t" r="r" b="b"/>
                <a:pathLst>
                  <a:path w="1603375" h="2863215">
                    <a:moveTo>
                      <a:pt x="343535" y="1603235"/>
                    </a:moveTo>
                    <a:lnTo>
                      <a:pt x="229031" y="1603235"/>
                    </a:lnTo>
                    <a:lnTo>
                      <a:pt x="229031" y="1488719"/>
                    </a:lnTo>
                    <a:lnTo>
                      <a:pt x="114515" y="1488719"/>
                    </a:lnTo>
                    <a:lnTo>
                      <a:pt x="114515" y="1603235"/>
                    </a:lnTo>
                    <a:lnTo>
                      <a:pt x="0" y="1603235"/>
                    </a:lnTo>
                    <a:lnTo>
                      <a:pt x="0" y="1717751"/>
                    </a:lnTo>
                    <a:lnTo>
                      <a:pt x="114515" y="1717751"/>
                    </a:lnTo>
                    <a:lnTo>
                      <a:pt x="229031" y="1717751"/>
                    </a:lnTo>
                    <a:lnTo>
                      <a:pt x="229031" y="1832267"/>
                    </a:lnTo>
                    <a:lnTo>
                      <a:pt x="114515" y="1832267"/>
                    </a:lnTo>
                    <a:lnTo>
                      <a:pt x="0" y="1832267"/>
                    </a:lnTo>
                    <a:lnTo>
                      <a:pt x="0" y="1946783"/>
                    </a:lnTo>
                    <a:lnTo>
                      <a:pt x="114515" y="1946783"/>
                    </a:lnTo>
                    <a:lnTo>
                      <a:pt x="229031" y="1946783"/>
                    </a:lnTo>
                    <a:lnTo>
                      <a:pt x="343535" y="1946783"/>
                    </a:lnTo>
                    <a:lnTo>
                      <a:pt x="343535" y="1603235"/>
                    </a:lnTo>
                    <a:close/>
                  </a:path>
                  <a:path w="1603375" h="2863215">
                    <a:moveTo>
                      <a:pt x="343535" y="1145171"/>
                    </a:moveTo>
                    <a:lnTo>
                      <a:pt x="229031" y="1145171"/>
                    </a:lnTo>
                    <a:lnTo>
                      <a:pt x="229031" y="1259687"/>
                    </a:lnTo>
                    <a:lnTo>
                      <a:pt x="114515" y="1259687"/>
                    </a:lnTo>
                    <a:lnTo>
                      <a:pt x="114515" y="1145171"/>
                    </a:lnTo>
                    <a:lnTo>
                      <a:pt x="0" y="1145171"/>
                    </a:lnTo>
                    <a:lnTo>
                      <a:pt x="0" y="1259687"/>
                    </a:lnTo>
                    <a:lnTo>
                      <a:pt x="0" y="1488719"/>
                    </a:lnTo>
                    <a:lnTo>
                      <a:pt x="114515" y="1488719"/>
                    </a:lnTo>
                    <a:lnTo>
                      <a:pt x="114515" y="1374203"/>
                    </a:lnTo>
                    <a:lnTo>
                      <a:pt x="229031" y="1374203"/>
                    </a:lnTo>
                    <a:lnTo>
                      <a:pt x="229031" y="1488719"/>
                    </a:lnTo>
                    <a:lnTo>
                      <a:pt x="343535" y="1488719"/>
                    </a:lnTo>
                    <a:lnTo>
                      <a:pt x="343535" y="1259687"/>
                    </a:lnTo>
                    <a:lnTo>
                      <a:pt x="343535" y="1145171"/>
                    </a:lnTo>
                    <a:close/>
                  </a:path>
                  <a:path w="1603375" h="2863215">
                    <a:moveTo>
                      <a:pt x="458063" y="1832267"/>
                    </a:moveTo>
                    <a:lnTo>
                      <a:pt x="343547" y="1832267"/>
                    </a:lnTo>
                    <a:lnTo>
                      <a:pt x="343547" y="1946783"/>
                    </a:lnTo>
                    <a:lnTo>
                      <a:pt x="458063" y="1946783"/>
                    </a:lnTo>
                    <a:lnTo>
                      <a:pt x="458063" y="1832267"/>
                    </a:lnTo>
                    <a:close/>
                  </a:path>
                  <a:path w="1603375" h="2863215">
                    <a:moveTo>
                      <a:pt x="687082" y="1717751"/>
                    </a:moveTo>
                    <a:lnTo>
                      <a:pt x="572579" y="1717751"/>
                    </a:lnTo>
                    <a:lnTo>
                      <a:pt x="458063" y="1717751"/>
                    </a:lnTo>
                    <a:lnTo>
                      <a:pt x="458063" y="1832267"/>
                    </a:lnTo>
                    <a:lnTo>
                      <a:pt x="572579" y="1832267"/>
                    </a:lnTo>
                    <a:lnTo>
                      <a:pt x="572579" y="1946783"/>
                    </a:lnTo>
                    <a:lnTo>
                      <a:pt x="687082" y="1946783"/>
                    </a:lnTo>
                    <a:lnTo>
                      <a:pt x="687082" y="1717751"/>
                    </a:lnTo>
                    <a:close/>
                  </a:path>
                  <a:path w="1603375" h="2863215">
                    <a:moveTo>
                      <a:pt x="687082" y="1374203"/>
                    </a:moveTo>
                    <a:lnTo>
                      <a:pt x="572579" y="1374203"/>
                    </a:lnTo>
                    <a:lnTo>
                      <a:pt x="572579" y="1603235"/>
                    </a:lnTo>
                    <a:lnTo>
                      <a:pt x="687082" y="1603235"/>
                    </a:lnTo>
                    <a:lnTo>
                      <a:pt x="687082" y="1374203"/>
                    </a:lnTo>
                    <a:close/>
                  </a:path>
                  <a:path w="1603375" h="2863215">
                    <a:moveTo>
                      <a:pt x="687082" y="1030655"/>
                    </a:moveTo>
                    <a:lnTo>
                      <a:pt x="572579" y="1030655"/>
                    </a:lnTo>
                    <a:lnTo>
                      <a:pt x="458063" y="1030655"/>
                    </a:lnTo>
                    <a:lnTo>
                      <a:pt x="458063" y="1145171"/>
                    </a:lnTo>
                    <a:lnTo>
                      <a:pt x="343547" y="1145171"/>
                    </a:lnTo>
                    <a:lnTo>
                      <a:pt x="343547" y="1259687"/>
                    </a:lnTo>
                    <a:lnTo>
                      <a:pt x="458063" y="1259687"/>
                    </a:lnTo>
                    <a:lnTo>
                      <a:pt x="458063" y="1374203"/>
                    </a:lnTo>
                    <a:lnTo>
                      <a:pt x="572579" y="1374203"/>
                    </a:lnTo>
                    <a:lnTo>
                      <a:pt x="572579" y="1259687"/>
                    </a:lnTo>
                    <a:lnTo>
                      <a:pt x="687082" y="1259687"/>
                    </a:lnTo>
                    <a:lnTo>
                      <a:pt x="687082" y="1030655"/>
                    </a:lnTo>
                    <a:close/>
                  </a:path>
                  <a:path w="1603375" h="2863215">
                    <a:moveTo>
                      <a:pt x="801611" y="1603235"/>
                    </a:moveTo>
                    <a:lnTo>
                      <a:pt x="687095" y="1603235"/>
                    </a:lnTo>
                    <a:lnTo>
                      <a:pt x="687095" y="1717751"/>
                    </a:lnTo>
                    <a:lnTo>
                      <a:pt x="801611" y="1717751"/>
                    </a:lnTo>
                    <a:lnTo>
                      <a:pt x="801611" y="1603235"/>
                    </a:lnTo>
                    <a:close/>
                  </a:path>
                  <a:path w="1603375" h="2863215">
                    <a:moveTo>
                      <a:pt x="801611" y="1145171"/>
                    </a:moveTo>
                    <a:lnTo>
                      <a:pt x="687095" y="1145171"/>
                    </a:lnTo>
                    <a:lnTo>
                      <a:pt x="687095" y="1259687"/>
                    </a:lnTo>
                    <a:lnTo>
                      <a:pt x="801611" y="1259687"/>
                    </a:lnTo>
                    <a:lnTo>
                      <a:pt x="801611" y="1145171"/>
                    </a:lnTo>
                    <a:close/>
                  </a:path>
                  <a:path w="1603375" h="2863215">
                    <a:moveTo>
                      <a:pt x="916127" y="1259687"/>
                    </a:moveTo>
                    <a:lnTo>
                      <a:pt x="801611" y="1259687"/>
                    </a:lnTo>
                    <a:lnTo>
                      <a:pt x="801611" y="1374203"/>
                    </a:lnTo>
                    <a:lnTo>
                      <a:pt x="687095" y="1374203"/>
                    </a:lnTo>
                    <a:lnTo>
                      <a:pt x="687095" y="1488719"/>
                    </a:lnTo>
                    <a:lnTo>
                      <a:pt x="801611" y="1488719"/>
                    </a:lnTo>
                    <a:lnTo>
                      <a:pt x="916127" y="1488719"/>
                    </a:lnTo>
                    <a:lnTo>
                      <a:pt x="916127" y="1259687"/>
                    </a:lnTo>
                    <a:close/>
                  </a:path>
                  <a:path w="1603375" h="2863215">
                    <a:moveTo>
                      <a:pt x="916127" y="916139"/>
                    </a:moveTo>
                    <a:lnTo>
                      <a:pt x="801611" y="916139"/>
                    </a:lnTo>
                    <a:lnTo>
                      <a:pt x="687095" y="916139"/>
                    </a:lnTo>
                    <a:lnTo>
                      <a:pt x="687095" y="1030655"/>
                    </a:lnTo>
                    <a:lnTo>
                      <a:pt x="801611" y="1030655"/>
                    </a:lnTo>
                    <a:lnTo>
                      <a:pt x="916127" y="1030655"/>
                    </a:lnTo>
                    <a:lnTo>
                      <a:pt x="916127" y="916139"/>
                    </a:lnTo>
                    <a:close/>
                  </a:path>
                  <a:path w="1603375" h="2863215">
                    <a:moveTo>
                      <a:pt x="1030643" y="2748407"/>
                    </a:moveTo>
                    <a:lnTo>
                      <a:pt x="916127" y="2748407"/>
                    </a:lnTo>
                    <a:lnTo>
                      <a:pt x="916127" y="2862923"/>
                    </a:lnTo>
                    <a:lnTo>
                      <a:pt x="1030643" y="2862923"/>
                    </a:lnTo>
                    <a:lnTo>
                      <a:pt x="1030643" y="2748407"/>
                    </a:lnTo>
                    <a:close/>
                  </a:path>
                  <a:path w="1603375" h="2863215">
                    <a:moveTo>
                      <a:pt x="1030643" y="2519375"/>
                    </a:moveTo>
                    <a:lnTo>
                      <a:pt x="916127" y="2519375"/>
                    </a:lnTo>
                    <a:lnTo>
                      <a:pt x="916127" y="2633891"/>
                    </a:lnTo>
                    <a:lnTo>
                      <a:pt x="1030643" y="2633891"/>
                    </a:lnTo>
                    <a:lnTo>
                      <a:pt x="1030643" y="2519375"/>
                    </a:lnTo>
                    <a:close/>
                  </a:path>
                  <a:path w="1603375" h="2863215">
                    <a:moveTo>
                      <a:pt x="1030643" y="1832267"/>
                    </a:moveTo>
                    <a:lnTo>
                      <a:pt x="916127" y="1832267"/>
                    </a:lnTo>
                    <a:lnTo>
                      <a:pt x="916127" y="1717751"/>
                    </a:lnTo>
                    <a:lnTo>
                      <a:pt x="801611" y="1717751"/>
                    </a:lnTo>
                    <a:lnTo>
                      <a:pt x="801611" y="1832267"/>
                    </a:lnTo>
                    <a:lnTo>
                      <a:pt x="687095" y="1832267"/>
                    </a:lnTo>
                    <a:lnTo>
                      <a:pt x="687095" y="1946783"/>
                    </a:lnTo>
                    <a:lnTo>
                      <a:pt x="801611" y="1946783"/>
                    </a:lnTo>
                    <a:lnTo>
                      <a:pt x="916127" y="1946783"/>
                    </a:lnTo>
                    <a:lnTo>
                      <a:pt x="916127" y="2175814"/>
                    </a:lnTo>
                    <a:lnTo>
                      <a:pt x="1030643" y="2175814"/>
                    </a:lnTo>
                    <a:lnTo>
                      <a:pt x="1030643" y="1946783"/>
                    </a:lnTo>
                    <a:lnTo>
                      <a:pt x="1030643" y="1832267"/>
                    </a:lnTo>
                    <a:close/>
                  </a:path>
                  <a:path w="1603375" h="2863215">
                    <a:moveTo>
                      <a:pt x="1030643" y="1488719"/>
                    </a:moveTo>
                    <a:lnTo>
                      <a:pt x="916127" y="1488719"/>
                    </a:lnTo>
                    <a:lnTo>
                      <a:pt x="916127" y="1717751"/>
                    </a:lnTo>
                    <a:lnTo>
                      <a:pt x="1030643" y="1717751"/>
                    </a:lnTo>
                    <a:lnTo>
                      <a:pt x="1030643" y="1488719"/>
                    </a:lnTo>
                    <a:close/>
                  </a:path>
                  <a:path w="1603375" h="2863215">
                    <a:moveTo>
                      <a:pt x="1030643" y="572579"/>
                    </a:moveTo>
                    <a:lnTo>
                      <a:pt x="916127" y="572579"/>
                    </a:lnTo>
                    <a:lnTo>
                      <a:pt x="916127" y="687095"/>
                    </a:lnTo>
                    <a:lnTo>
                      <a:pt x="916127" y="801611"/>
                    </a:lnTo>
                    <a:lnTo>
                      <a:pt x="1030643" y="801611"/>
                    </a:lnTo>
                    <a:lnTo>
                      <a:pt x="1030643" y="687095"/>
                    </a:lnTo>
                    <a:lnTo>
                      <a:pt x="1030643" y="572579"/>
                    </a:lnTo>
                    <a:close/>
                  </a:path>
                  <a:path w="1603375" h="2863215">
                    <a:moveTo>
                      <a:pt x="1030643" y="229031"/>
                    </a:moveTo>
                    <a:lnTo>
                      <a:pt x="916127" y="229031"/>
                    </a:lnTo>
                    <a:lnTo>
                      <a:pt x="916127" y="343547"/>
                    </a:lnTo>
                    <a:lnTo>
                      <a:pt x="1030643" y="343547"/>
                    </a:lnTo>
                    <a:lnTo>
                      <a:pt x="1030643" y="229031"/>
                    </a:lnTo>
                    <a:close/>
                  </a:path>
                  <a:path w="1603375" h="2863215">
                    <a:moveTo>
                      <a:pt x="1030643" y="0"/>
                    </a:moveTo>
                    <a:lnTo>
                      <a:pt x="916127" y="0"/>
                    </a:lnTo>
                    <a:lnTo>
                      <a:pt x="916127" y="114515"/>
                    </a:lnTo>
                    <a:lnTo>
                      <a:pt x="1030643" y="114515"/>
                    </a:lnTo>
                    <a:lnTo>
                      <a:pt x="1030643" y="0"/>
                    </a:lnTo>
                    <a:close/>
                  </a:path>
                  <a:path w="1603375" h="2863215">
                    <a:moveTo>
                      <a:pt x="1145171" y="1145171"/>
                    </a:moveTo>
                    <a:lnTo>
                      <a:pt x="1030655" y="1145171"/>
                    </a:lnTo>
                    <a:lnTo>
                      <a:pt x="1030655" y="1259687"/>
                    </a:lnTo>
                    <a:lnTo>
                      <a:pt x="1030655" y="1374203"/>
                    </a:lnTo>
                    <a:lnTo>
                      <a:pt x="1145171" y="1374203"/>
                    </a:lnTo>
                    <a:lnTo>
                      <a:pt x="1145171" y="1259687"/>
                    </a:lnTo>
                    <a:lnTo>
                      <a:pt x="1145171" y="1145171"/>
                    </a:lnTo>
                    <a:close/>
                  </a:path>
                  <a:path w="1603375" h="2863215">
                    <a:moveTo>
                      <a:pt x="1259687" y="1488719"/>
                    </a:moveTo>
                    <a:lnTo>
                      <a:pt x="1145171" y="1488719"/>
                    </a:lnTo>
                    <a:lnTo>
                      <a:pt x="1145171" y="1603235"/>
                    </a:lnTo>
                    <a:lnTo>
                      <a:pt x="1259687" y="1603235"/>
                    </a:lnTo>
                    <a:lnTo>
                      <a:pt x="1259687" y="1488719"/>
                    </a:lnTo>
                    <a:close/>
                  </a:path>
                  <a:path w="1603375" h="2863215">
                    <a:moveTo>
                      <a:pt x="1259687" y="343547"/>
                    </a:moveTo>
                    <a:lnTo>
                      <a:pt x="1145171" y="343547"/>
                    </a:lnTo>
                    <a:lnTo>
                      <a:pt x="1030655" y="343547"/>
                    </a:lnTo>
                    <a:lnTo>
                      <a:pt x="1030655" y="572579"/>
                    </a:lnTo>
                    <a:lnTo>
                      <a:pt x="1145171" y="572579"/>
                    </a:lnTo>
                    <a:lnTo>
                      <a:pt x="1145171" y="458063"/>
                    </a:lnTo>
                    <a:lnTo>
                      <a:pt x="1259687" y="458063"/>
                    </a:lnTo>
                    <a:lnTo>
                      <a:pt x="1259687" y="343547"/>
                    </a:lnTo>
                    <a:close/>
                  </a:path>
                  <a:path w="1603375" h="2863215">
                    <a:moveTo>
                      <a:pt x="1259687" y="0"/>
                    </a:moveTo>
                    <a:lnTo>
                      <a:pt x="1145171" y="0"/>
                    </a:lnTo>
                    <a:lnTo>
                      <a:pt x="1030655" y="0"/>
                    </a:lnTo>
                    <a:lnTo>
                      <a:pt x="1030655" y="229031"/>
                    </a:lnTo>
                    <a:lnTo>
                      <a:pt x="1145171" y="229031"/>
                    </a:lnTo>
                    <a:lnTo>
                      <a:pt x="1145171" y="114515"/>
                    </a:lnTo>
                    <a:lnTo>
                      <a:pt x="1259687" y="114515"/>
                    </a:lnTo>
                    <a:lnTo>
                      <a:pt x="1259687" y="0"/>
                    </a:lnTo>
                    <a:close/>
                  </a:path>
                  <a:path w="1603375" h="2863215">
                    <a:moveTo>
                      <a:pt x="1374203" y="2061298"/>
                    </a:moveTo>
                    <a:lnTo>
                      <a:pt x="1259687" y="2061298"/>
                    </a:lnTo>
                    <a:lnTo>
                      <a:pt x="1259687" y="1946783"/>
                    </a:lnTo>
                    <a:lnTo>
                      <a:pt x="1145171" y="1946783"/>
                    </a:lnTo>
                    <a:lnTo>
                      <a:pt x="1030655" y="1946783"/>
                    </a:lnTo>
                    <a:lnTo>
                      <a:pt x="1030655" y="2290330"/>
                    </a:lnTo>
                    <a:lnTo>
                      <a:pt x="1145171" y="2290330"/>
                    </a:lnTo>
                    <a:lnTo>
                      <a:pt x="1145171" y="2175814"/>
                    </a:lnTo>
                    <a:lnTo>
                      <a:pt x="1259687" y="2175814"/>
                    </a:lnTo>
                    <a:lnTo>
                      <a:pt x="1374203" y="2175814"/>
                    </a:lnTo>
                    <a:lnTo>
                      <a:pt x="1374203" y="2061298"/>
                    </a:lnTo>
                    <a:close/>
                  </a:path>
                  <a:path w="1603375" h="2863215">
                    <a:moveTo>
                      <a:pt x="1374203" y="114515"/>
                    </a:moveTo>
                    <a:lnTo>
                      <a:pt x="1259687" y="114515"/>
                    </a:lnTo>
                    <a:lnTo>
                      <a:pt x="1259687" y="343547"/>
                    </a:lnTo>
                    <a:lnTo>
                      <a:pt x="1374203" y="343547"/>
                    </a:lnTo>
                    <a:lnTo>
                      <a:pt x="1374203" y="114515"/>
                    </a:lnTo>
                    <a:close/>
                  </a:path>
                  <a:path w="1603375" h="2863215">
                    <a:moveTo>
                      <a:pt x="1488706" y="2290343"/>
                    </a:moveTo>
                    <a:lnTo>
                      <a:pt x="1374203" y="2290343"/>
                    </a:lnTo>
                    <a:lnTo>
                      <a:pt x="1259687" y="2290343"/>
                    </a:lnTo>
                    <a:lnTo>
                      <a:pt x="1145171" y="2290343"/>
                    </a:lnTo>
                    <a:lnTo>
                      <a:pt x="1145171" y="2404859"/>
                    </a:lnTo>
                    <a:lnTo>
                      <a:pt x="1030655" y="2404859"/>
                    </a:lnTo>
                    <a:lnTo>
                      <a:pt x="1030655" y="2633891"/>
                    </a:lnTo>
                    <a:lnTo>
                      <a:pt x="1030655" y="2748407"/>
                    </a:lnTo>
                    <a:lnTo>
                      <a:pt x="1145171" y="2748407"/>
                    </a:lnTo>
                    <a:lnTo>
                      <a:pt x="1145171" y="2633891"/>
                    </a:lnTo>
                    <a:lnTo>
                      <a:pt x="1145171" y="2519375"/>
                    </a:lnTo>
                    <a:lnTo>
                      <a:pt x="1259687" y="2519375"/>
                    </a:lnTo>
                    <a:lnTo>
                      <a:pt x="1259687" y="2404859"/>
                    </a:lnTo>
                    <a:lnTo>
                      <a:pt x="1374203" y="2404859"/>
                    </a:lnTo>
                    <a:lnTo>
                      <a:pt x="1374203" y="2633891"/>
                    </a:lnTo>
                    <a:lnTo>
                      <a:pt x="1259687" y="2633891"/>
                    </a:lnTo>
                    <a:lnTo>
                      <a:pt x="1259687" y="2748407"/>
                    </a:lnTo>
                    <a:lnTo>
                      <a:pt x="1374203" y="2748407"/>
                    </a:lnTo>
                    <a:lnTo>
                      <a:pt x="1488706" y="2748407"/>
                    </a:lnTo>
                    <a:lnTo>
                      <a:pt x="1488706" y="2633891"/>
                    </a:lnTo>
                    <a:lnTo>
                      <a:pt x="1488706" y="2290343"/>
                    </a:lnTo>
                    <a:close/>
                  </a:path>
                  <a:path w="1603375" h="2863215">
                    <a:moveTo>
                      <a:pt x="1488706" y="1374203"/>
                    </a:moveTo>
                    <a:lnTo>
                      <a:pt x="1374203" y="1374203"/>
                    </a:lnTo>
                    <a:lnTo>
                      <a:pt x="1374203" y="1717751"/>
                    </a:lnTo>
                    <a:lnTo>
                      <a:pt x="1259687" y="1717751"/>
                    </a:lnTo>
                    <a:lnTo>
                      <a:pt x="1145171" y="1717751"/>
                    </a:lnTo>
                    <a:lnTo>
                      <a:pt x="1145171" y="1603235"/>
                    </a:lnTo>
                    <a:lnTo>
                      <a:pt x="1030655" y="1603235"/>
                    </a:lnTo>
                    <a:lnTo>
                      <a:pt x="1030655" y="1832267"/>
                    </a:lnTo>
                    <a:lnTo>
                      <a:pt x="1145171" y="1832267"/>
                    </a:lnTo>
                    <a:lnTo>
                      <a:pt x="1259687" y="1832267"/>
                    </a:lnTo>
                    <a:lnTo>
                      <a:pt x="1374203" y="1832267"/>
                    </a:lnTo>
                    <a:lnTo>
                      <a:pt x="1488706" y="1832267"/>
                    </a:lnTo>
                    <a:lnTo>
                      <a:pt x="1488706" y="1374203"/>
                    </a:lnTo>
                    <a:close/>
                  </a:path>
                  <a:path w="1603375" h="2863215">
                    <a:moveTo>
                      <a:pt x="1488706" y="916139"/>
                    </a:moveTo>
                    <a:lnTo>
                      <a:pt x="1374203" y="916139"/>
                    </a:lnTo>
                    <a:lnTo>
                      <a:pt x="1374203" y="1030655"/>
                    </a:lnTo>
                    <a:lnTo>
                      <a:pt x="1259687" y="1030655"/>
                    </a:lnTo>
                    <a:lnTo>
                      <a:pt x="1259687" y="687095"/>
                    </a:lnTo>
                    <a:lnTo>
                      <a:pt x="1374203" y="687095"/>
                    </a:lnTo>
                    <a:lnTo>
                      <a:pt x="1374203" y="572579"/>
                    </a:lnTo>
                    <a:lnTo>
                      <a:pt x="1259687" y="572579"/>
                    </a:lnTo>
                    <a:lnTo>
                      <a:pt x="1145171" y="572579"/>
                    </a:lnTo>
                    <a:lnTo>
                      <a:pt x="1145171" y="687095"/>
                    </a:lnTo>
                    <a:lnTo>
                      <a:pt x="1145171" y="1145159"/>
                    </a:lnTo>
                    <a:lnTo>
                      <a:pt x="1259687" y="1145159"/>
                    </a:lnTo>
                    <a:lnTo>
                      <a:pt x="1374203" y="1145171"/>
                    </a:lnTo>
                    <a:lnTo>
                      <a:pt x="1374203" y="1259687"/>
                    </a:lnTo>
                    <a:lnTo>
                      <a:pt x="1488706" y="1259687"/>
                    </a:lnTo>
                    <a:lnTo>
                      <a:pt x="1488706" y="916139"/>
                    </a:lnTo>
                    <a:close/>
                  </a:path>
                  <a:path w="1603375" h="2863215">
                    <a:moveTo>
                      <a:pt x="1488706" y="687095"/>
                    </a:moveTo>
                    <a:lnTo>
                      <a:pt x="1374203" y="687095"/>
                    </a:lnTo>
                    <a:lnTo>
                      <a:pt x="1374203" y="801611"/>
                    </a:lnTo>
                    <a:lnTo>
                      <a:pt x="1488706" y="801611"/>
                    </a:lnTo>
                    <a:lnTo>
                      <a:pt x="1488706" y="687095"/>
                    </a:lnTo>
                    <a:close/>
                  </a:path>
                  <a:path w="1603375" h="2863215">
                    <a:moveTo>
                      <a:pt x="1488706" y="343547"/>
                    </a:moveTo>
                    <a:lnTo>
                      <a:pt x="1374203" y="343547"/>
                    </a:lnTo>
                    <a:lnTo>
                      <a:pt x="1374203" y="572579"/>
                    </a:lnTo>
                    <a:lnTo>
                      <a:pt x="1488706" y="572579"/>
                    </a:lnTo>
                    <a:lnTo>
                      <a:pt x="1488706" y="343547"/>
                    </a:lnTo>
                    <a:close/>
                  </a:path>
                  <a:path w="1603375" h="2863215">
                    <a:moveTo>
                      <a:pt x="1488706" y="0"/>
                    </a:moveTo>
                    <a:lnTo>
                      <a:pt x="1374203" y="0"/>
                    </a:lnTo>
                    <a:lnTo>
                      <a:pt x="1374203" y="114515"/>
                    </a:lnTo>
                    <a:lnTo>
                      <a:pt x="1488706" y="114515"/>
                    </a:lnTo>
                    <a:lnTo>
                      <a:pt x="1488706" y="0"/>
                    </a:lnTo>
                    <a:close/>
                  </a:path>
                  <a:path w="1603375" h="2863215">
                    <a:moveTo>
                      <a:pt x="1603235" y="2175814"/>
                    </a:moveTo>
                    <a:lnTo>
                      <a:pt x="1488719" y="2175814"/>
                    </a:lnTo>
                    <a:lnTo>
                      <a:pt x="1488719" y="2290330"/>
                    </a:lnTo>
                    <a:lnTo>
                      <a:pt x="1603235" y="2290330"/>
                    </a:lnTo>
                    <a:lnTo>
                      <a:pt x="1603235" y="2175814"/>
                    </a:lnTo>
                    <a:close/>
                  </a:path>
                  <a:path w="1603375" h="2863215">
                    <a:moveTo>
                      <a:pt x="1603235" y="1832267"/>
                    </a:moveTo>
                    <a:lnTo>
                      <a:pt x="1488719" y="1832267"/>
                    </a:lnTo>
                    <a:lnTo>
                      <a:pt x="1488719" y="1946783"/>
                    </a:lnTo>
                    <a:lnTo>
                      <a:pt x="1488719" y="2061298"/>
                    </a:lnTo>
                    <a:lnTo>
                      <a:pt x="1603235" y="2061298"/>
                    </a:lnTo>
                    <a:lnTo>
                      <a:pt x="1603235" y="1946783"/>
                    </a:lnTo>
                    <a:lnTo>
                      <a:pt x="1603235" y="1832267"/>
                    </a:lnTo>
                    <a:close/>
                  </a:path>
                  <a:path w="1603375" h="2863215">
                    <a:moveTo>
                      <a:pt x="1603235" y="1603235"/>
                    </a:moveTo>
                    <a:lnTo>
                      <a:pt x="1488719" y="1603235"/>
                    </a:lnTo>
                    <a:lnTo>
                      <a:pt x="1488719" y="1717751"/>
                    </a:lnTo>
                    <a:lnTo>
                      <a:pt x="1603235" y="1717751"/>
                    </a:lnTo>
                    <a:lnTo>
                      <a:pt x="1603235" y="1603235"/>
                    </a:lnTo>
                    <a:close/>
                  </a:path>
                  <a:path w="1603375" h="2863215">
                    <a:moveTo>
                      <a:pt x="1603235" y="1145171"/>
                    </a:moveTo>
                    <a:lnTo>
                      <a:pt x="1488719" y="1145171"/>
                    </a:lnTo>
                    <a:lnTo>
                      <a:pt x="1488719" y="1259687"/>
                    </a:lnTo>
                    <a:lnTo>
                      <a:pt x="1603235" y="1259687"/>
                    </a:lnTo>
                    <a:lnTo>
                      <a:pt x="1603235" y="1145171"/>
                    </a:lnTo>
                    <a:close/>
                  </a:path>
                  <a:path w="1603375" h="2863215">
                    <a:moveTo>
                      <a:pt x="1603235" y="229031"/>
                    </a:moveTo>
                    <a:lnTo>
                      <a:pt x="1488719" y="229031"/>
                    </a:lnTo>
                    <a:lnTo>
                      <a:pt x="1488719" y="687095"/>
                    </a:lnTo>
                    <a:lnTo>
                      <a:pt x="1603235" y="687095"/>
                    </a:lnTo>
                    <a:lnTo>
                      <a:pt x="1603235" y="229031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object 11"/>
              <p:cNvSpPr/>
              <p:nvPr/>
            </p:nvSpPr>
            <p:spPr>
              <a:xfrm>
                <a:off x="2158047" y="3428072"/>
                <a:ext cx="1259840" cy="286321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2863215">
                    <a:moveTo>
                      <a:pt x="114515" y="2290343"/>
                    </a:moveTo>
                    <a:lnTo>
                      <a:pt x="0" y="2290343"/>
                    </a:lnTo>
                    <a:lnTo>
                      <a:pt x="0" y="2404859"/>
                    </a:lnTo>
                    <a:lnTo>
                      <a:pt x="114515" y="2404859"/>
                    </a:lnTo>
                    <a:lnTo>
                      <a:pt x="114515" y="2290343"/>
                    </a:lnTo>
                    <a:close/>
                  </a:path>
                  <a:path w="1259839" h="2863215">
                    <a:moveTo>
                      <a:pt x="114515" y="2175814"/>
                    </a:moveTo>
                    <a:lnTo>
                      <a:pt x="0" y="2175814"/>
                    </a:lnTo>
                    <a:lnTo>
                      <a:pt x="0" y="2290330"/>
                    </a:lnTo>
                    <a:lnTo>
                      <a:pt x="114515" y="2290330"/>
                    </a:lnTo>
                    <a:lnTo>
                      <a:pt x="114515" y="2175814"/>
                    </a:lnTo>
                    <a:close/>
                  </a:path>
                  <a:path w="1259839" h="2863215">
                    <a:moveTo>
                      <a:pt x="229031" y="2519375"/>
                    </a:moveTo>
                    <a:lnTo>
                      <a:pt x="114515" y="2519375"/>
                    </a:lnTo>
                    <a:lnTo>
                      <a:pt x="0" y="2519375"/>
                    </a:lnTo>
                    <a:lnTo>
                      <a:pt x="0" y="2633891"/>
                    </a:lnTo>
                    <a:lnTo>
                      <a:pt x="114515" y="2633891"/>
                    </a:lnTo>
                    <a:lnTo>
                      <a:pt x="114515" y="2748407"/>
                    </a:lnTo>
                    <a:lnTo>
                      <a:pt x="0" y="2748407"/>
                    </a:lnTo>
                    <a:lnTo>
                      <a:pt x="0" y="2862923"/>
                    </a:lnTo>
                    <a:lnTo>
                      <a:pt x="114515" y="2862923"/>
                    </a:lnTo>
                    <a:lnTo>
                      <a:pt x="229031" y="2862923"/>
                    </a:lnTo>
                    <a:lnTo>
                      <a:pt x="229031" y="2633891"/>
                    </a:lnTo>
                    <a:lnTo>
                      <a:pt x="229031" y="2519375"/>
                    </a:lnTo>
                    <a:close/>
                  </a:path>
                  <a:path w="1259839" h="2863215">
                    <a:moveTo>
                      <a:pt x="229031" y="1832267"/>
                    </a:moveTo>
                    <a:lnTo>
                      <a:pt x="114515" y="1832267"/>
                    </a:lnTo>
                    <a:lnTo>
                      <a:pt x="114515" y="1946783"/>
                    </a:lnTo>
                    <a:lnTo>
                      <a:pt x="229031" y="1946783"/>
                    </a:lnTo>
                    <a:lnTo>
                      <a:pt x="229031" y="1832267"/>
                    </a:lnTo>
                    <a:close/>
                  </a:path>
                  <a:path w="1259839" h="2863215">
                    <a:moveTo>
                      <a:pt x="229031" y="687095"/>
                    </a:moveTo>
                    <a:lnTo>
                      <a:pt x="114515" y="687095"/>
                    </a:lnTo>
                    <a:lnTo>
                      <a:pt x="114515" y="801611"/>
                    </a:lnTo>
                    <a:lnTo>
                      <a:pt x="229031" y="801611"/>
                    </a:lnTo>
                    <a:lnTo>
                      <a:pt x="229031" y="687095"/>
                    </a:lnTo>
                    <a:close/>
                  </a:path>
                  <a:path w="1259839" h="2863215">
                    <a:moveTo>
                      <a:pt x="343547" y="1488719"/>
                    </a:moveTo>
                    <a:lnTo>
                      <a:pt x="229031" y="1488719"/>
                    </a:lnTo>
                    <a:lnTo>
                      <a:pt x="114515" y="1488719"/>
                    </a:lnTo>
                    <a:lnTo>
                      <a:pt x="114515" y="1603235"/>
                    </a:lnTo>
                    <a:lnTo>
                      <a:pt x="229031" y="1603235"/>
                    </a:lnTo>
                    <a:lnTo>
                      <a:pt x="229031" y="1717751"/>
                    </a:lnTo>
                    <a:lnTo>
                      <a:pt x="343547" y="1717751"/>
                    </a:lnTo>
                    <a:lnTo>
                      <a:pt x="343547" y="1488719"/>
                    </a:lnTo>
                    <a:close/>
                  </a:path>
                  <a:path w="1259839" h="2863215">
                    <a:moveTo>
                      <a:pt x="343547" y="229031"/>
                    </a:moveTo>
                    <a:lnTo>
                      <a:pt x="229031" y="229031"/>
                    </a:lnTo>
                    <a:lnTo>
                      <a:pt x="229031" y="0"/>
                    </a:lnTo>
                    <a:lnTo>
                      <a:pt x="114515" y="0"/>
                    </a:lnTo>
                    <a:lnTo>
                      <a:pt x="114515" y="458063"/>
                    </a:lnTo>
                    <a:lnTo>
                      <a:pt x="229031" y="458063"/>
                    </a:lnTo>
                    <a:lnTo>
                      <a:pt x="229031" y="343547"/>
                    </a:lnTo>
                    <a:lnTo>
                      <a:pt x="343547" y="343547"/>
                    </a:lnTo>
                    <a:lnTo>
                      <a:pt x="343547" y="229031"/>
                    </a:lnTo>
                    <a:close/>
                  </a:path>
                  <a:path w="1259839" h="2863215">
                    <a:moveTo>
                      <a:pt x="458063" y="2633891"/>
                    </a:moveTo>
                    <a:lnTo>
                      <a:pt x="343547" y="2633891"/>
                    </a:lnTo>
                    <a:lnTo>
                      <a:pt x="343547" y="2862923"/>
                    </a:lnTo>
                    <a:lnTo>
                      <a:pt x="458063" y="2862923"/>
                    </a:lnTo>
                    <a:lnTo>
                      <a:pt x="458063" y="2633891"/>
                    </a:lnTo>
                    <a:close/>
                  </a:path>
                  <a:path w="1259839" h="2863215">
                    <a:moveTo>
                      <a:pt x="458063" y="114515"/>
                    </a:moveTo>
                    <a:lnTo>
                      <a:pt x="343547" y="114515"/>
                    </a:lnTo>
                    <a:lnTo>
                      <a:pt x="343547" y="229031"/>
                    </a:lnTo>
                    <a:lnTo>
                      <a:pt x="458063" y="229031"/>
                    </a:lnTo>
                    <a:lnTo>
                      <a:pt x="458063" y="114515"/>
                    </a:lnTo>
                    <a:close/>
                  </a:path>
                  <a:path w="1259839" h="2863215">
                    <a:moveTo>
                      <a:pt x="687095" y="2061298"/>
                    </a:moveTo>
                    <a:lnTo>
                      <a:pt x="572579" y="2061298"/>
                    </a:lnTo>
                    <a:lnTo>
                      <a:pt x="572579" y="2175814"/>
                    </a:lnTo>
                    <a:lnTo>
                      <a:pt x="687095" y="2175814"/>
                    </a:lnTo>
                    <a:lnTo>
                      <a:pt x="687095" y="2061298"/>
                    </a:lnTo>
                    <a:close/>
                  </a:path>
                  <a:path w="1259839" h="2863215">
                    <a:moveTo>
                      <a:pt x="801598" y="2519375"/>
                    </a:moveTo>
                    <a:lnTo>
                      <a:pt x="687095" y="2519375"/>
                    </a:lnTo>
                    <a:lnTo>
                      <a:pt x="687095" y="2633891"/>
                    </a:lnTo>
                    <a:lnTo>
                      <a:pt x="687095" y="2748407"/>
                    </a:lnTo>
                    <a:lnTo>
                      <a:pt x="801598" y="2748407"/>
                    </a:lnTo>
                    <a:lnTo>
                      <a:pt x="801598" y="2633891"/>
                    </a:lnTo>
                    <a:lnTo>
                      <a:pt x="801598" y="2519375"/>
                    </a:lnTo>
                    <a:close/>
                  </a:path>
                  <a:path w="1259839" h="2863215">
                    <a:moveTo>
                      <a:pt x="801598" y="2290343"/>
                    </a:moveTo>
                    <a:lnTo>
                      <a:pt x="801598" y="2290343"/>
                    </a:lnTo>
                    <a:lnTo>
                      <a:pt x="229031" y="2290343"/>
                    </a:lnTo>
                    <a:lnTo>
                      <a:pt x="229031" y="2519375"/>
                    </a:lnTo>
                    <a:lnTo>
                      <a:pt x="343547" y="2519375"/>
                    </a:lnTo>
                    <a:lnTo>
                      <a:pt x="458063" y="2519375"/>
                    </a:lnTo>
                    <a:lnTo>
                      <a:pt x="458063" y="2633891"/>
                    </a:lnTo>
                    <a:lnTo>
                      <a:pt x="572579" y="2633891"/>
                    </a:lnTo>
                    <a:lnTo>
                      <a:pt x="572579" y="2404859"/>
                    </a:lnTo>
                    <a:lnTo>
                      <a:pt x="687095" y="2404859"/>
                    </a:lnTo>
                    <a:lnTo>
                      <a:pt x="801598" y="2404859"/>
                    </a:lnTo>
                    <a:lnTo>
                      <a:pt x="801598" y="2290343"/>
                    </a:lnTo>
                    <a:close/>
                  </a:path>
                  <a:path w="1259839" h="2863215">
                    <a:moveTo>
                      <a:pt x="801598" y="1717751"/>
                    </a:moveTo>
                    <a:lnTo>
                      <a:pt x="687095" y="1717751"/>
                    </a:lnTo>
                    <a:lnTo>
                      <a:pt x="572579" y="1717751"/>
                    </a:lnTo>
                    <a:lnTo>
                      <a:pt x="572579" y="1832267"/>
                    </a:lnTo>
                    <a:lnTo>
                      <a:pt x="458063" y="1832267"/>
                    </a:lnTo>
                    <a:lnTo>
                      <a:pt x="458063" y="1717751"/>
                    </a:lnTo>
                    <a:lnTo>
                      <a:pt x="343547" y="1717751"/>
                    </a:lnTo>
                    <a:lnTo>
                      <a:pt x="343547" y="1946783"/>
                    </a:lnTo>
                    <a:lnTo>
                      <a:pt x="343547" y="2175814"/>
                    </a:lnTo>
                    <a:lnTo>
                      <a:pt x="229031" y="2175814"/>
                    </a:lnTo>
                    <a:lnTo>
                      <a:pt x="229031" y="2290330"/>
                    </a:lnTo>
                    <a:lnTo>
                      <a:pt x="343547" y="2290330"/>
                    </a:lnTo>
                    <a:lnTo>
                      <a:pt x="458063" y="2290330"/>
                    </a:lnTo>
                    <a:lnTo>
                      <a:pt x="458063" y="1946783"/>
                    </a:lnTo>
                    <a:lnTo>
                      <a:pt x="572579" y="1946783"/>
                    </a:lnTo>
                    <a:lnTo>
                      <a:pt x="687095" y="1946783"/>
                    </a:lnTo>
                    <a:lnTo>
                      <a:pt x="801598" y="1946783"/>
                    </a:lnTo>
                    <a:lnTo>
                      <a:pt x="801598" y="1717751"/>
                    </a:lnTo>
                    <a:close/>
                  </a:path>
                  <a:path w="1259839" h="2863215">
                    <a:moveTo>
                      <a:pt x="801598" y="916139"/>
                    </a:moveTo>
                    <a:lnTo>
                      <a:pt x="687095" y="916139"/>
                    </a:lnTo>
                    <a:lnTo>
                      <a:pt x="687095" y="1030655"/>
                    </a:lnTo>
                    <a:lnTo>
                      <a:pt x="572579" y="1030655"/>
                    </a:lnTo>
                    <a:lnTo>
                      <a:pt x="572579" y="1145171"/>
                    </a:lnTo>
                    <a:lnTo>
                      <a:pt x="687095" y="1145171"/>
                    </a:lnTo>
                    <a:lnTo>
                      <a:pt x="687095" y="1259687"/>
                    </a:lnTo>
                    <a:lnTo>
                      <a:pt x="572579" y="1259687"/>
                    </a:lnTo>
                    <a:lnTo>
                      <a:pt x="572579" y="1145171"/>
                    </a:lnTo>
                    <a:lnTo>
                      <a:pt x="458063" y="1145171"/>
                    </a:lnTo>
                    <a:lnTo>
                      <a:pt x="458063" y="1259687"/>
                    </a:lnTo>
                    <a:lnTo>
                      <a:pt x="343547" y="1259687"/>
                    </a:lnTo>
                    <a:lnTo>
                      <a:pt x="343547" y="1145159"/>
                    </a:lnTo>
                    <a:lnTo>
                      <a:pt x="458063" y="1145159"/>
                    </a:lnTo>
                    <a:lnTo>
                      <a:pt x="458063" y="687095"/>
                    </a:lnTo>
                    <a:lnTo>
                      <a:pt x="343547" y="687095"/>
                    </a:lnTo>
                    <a:lnTo>
                      <a:pt x="343547" y="916139"/>
                    </a:lnTo>
                    <a:lnTo>
                      <a:pt x="229031" y="916139"/>
                    </a:lnTo>
                    <a:lnTo>
                      <a:pt x="229031" y="1259687"/>
                    </a:lnTo>
                    <a:lnTo>
                      <a:pt x="114515" y="1259687"/>
                    </a:lnTo>
                    <a:lnTo>
                      <a:pt x="114515" y="1374203"/>
                    </a:lnTo>
                    <a:lnTo>
                      <a:pt x="229031" y="1374203"/>
                    </a:lnTo>
                    <a:lnTo>
                      <a:pt x="343547" y="1374203"/>
                    </a:lnTo>
                    <a:lnTo>
                      <a:pt x="343547" y="1488719"/>
                    </a:lnTo>
                    <a:lnTo>
                      <a:pt x="458063" y="1488719"/>
                    </a:lnTo>
                    <a:lnTo>
                      <a:pt x="572579" y="1488719"/>
                    </a:lnTo>
                    <a:lnTo>
                      <a:pt x="572579" y="1603235"/>
                    </a:lnTo>
                    <a:lnTo>
                      <a:pt x="687095" y="1603235"/>
                    </a:lnTo>
                    <a:lnTo>
                      <a:pt x="801598" y="1603235"/>
                    </a:lnTo>
                    <a:lnTo>
                      <a:pt x="801598" y="1488719"/>
                    </a:lnTo>
                    <a:lnTo>
                      <a:pt x="687095" y="1488719"/>
                    </a:lnTo>
                    <a:lnTo>
                      <a:pt x="687095" y="1374203"/>
                    </a:lnTo>
                    <a:lnTo>
                      <a:pt x="801598" y="1374203"/>
                    </a:lnTo>
                    <a:lnTo>
                      <a:pt x="801598" y="1259687"/>
                    </a:lnTo>
                    <a:lnTo>
                      <a:pt x="801598" y="916139"/>
                    </a:lnTo>
                    <a:close/>
                  </a:path>
                  <a:path w="1259839" h="2863215">
                    <a:moveTo>
                      <a:pt x="801598" y="0"/>
                    </a:moveTo>
                    <a:lnTo>
                      <a:pt x="687095" y="0"/>
                    </a:lnTo>
                    <a:lnTo>
                      <a:pt x="572579" y="0"/>
                    </a:lnTo>
                    <a:lnTo>
                      <a:pt x="572579" y="687095"/>
                    </a:lnTo>
                    <a:lnTo>
                      <a:pt x="572579" y="801611"/>
                    </a:lnTo>
                    <a:lnTo>
                      <a:pt x="687095" y="801611"/>
                    </a:lnTo>
                    <a:lnTo>
                      <a:pt x="801598" y="801611"/>
                    </a:lnTo>
                    <a:lnTo>
                      <a:pt x="801598" y="687095"/>
                    </a:lnTo>
                    <a:lnTo>
                      <a:pt x="687095" y="687095"/>
                    </a:lnTo>
                    <a:lnTo>
                      <a:pt x="687095" y="114515"/>
                    </a:lnTo>
                    <a:lnTo>
                      <a:pt x="801598" y="114515"/>
                    </a:lnTo>
                    <a:lnTo>
                      <a:pt x="801598" y="0"/>
                    </a:lnTo>
                    <a:close/>
                  </a:path>
                  <a:path w="1259839" h="2863215">
                    <a:moveTo>
                      <a:pt x="1030643" y="2748407"/>
                    </a:moveTo>
                    <a:lnTo>
                      <a:pt x="916127" y="2748407"/>
                    </a:lnTo>
                    <a:lnTo>
                      <a:pt x="916127" y="2862923"/>
                    </a:lnTo>
                    <a:lnTo>
                      <a:pt x="1030643" y="2862923"/>
                    </a:lnTo>
                    <a:lnTo>
                      <a:pt x="1030643" y="2748407"/>
                    </a:lnTo>
                    <a:close/>
                  </a:path>
                  <a:path w="1259839" h="2863215">
                    <a:moveTo>
                      <a:pt x="1030643" y="2519375"/>
                    </a:moveTo>
                    <a:lnTo>
                      <a:pt x="916127" y="2519375"/>
                    </a:lnTo>
                    <a:lnTo>
                      <a:pt x="916127" y="2290343"/>
                    </a:lnTo>
                    <a:lnTo>
                      <a:pt x="801611" y="2290343"/>
                    </a:lnTo>
                    <a:lnTo>
                      <a:pt x="801611" y="2633891"/>
                    </a:lnTo>
                    <a:lnTo>
                      <a:pt x="801611" y="2748407"/>
                    </a:lnTo>
                    <a:lnTo>
                      <a:pt x="916127" y="2748407"/>
                    </a:lnTo>
                    <a:lnTo>
                      <a:pt x="916127" y="2633891"/>
                    </a:lnTo>
                    <a:lnTo>
                      <a:pt x="1030643" y="2633891"/>
                    </a:lnTo>
                    <a:lnTo>
                      <a:pt x="1030643" y="2519375"/>
                    </a:lnTo>
                    <a:close/>
                  </a:path>
                  <a:path w="1259839" h="2863215">
                    <a:moveTo>
                      <a:pt x="1030643" y="1603235"/>
                    </a:moveTo>
                    <a:lnTo>
                      <a:pt x="916127" y="1603235"/>
                    </a:lnTo>
                    <a:lnTo>
                      <a:pt x="916127" y="1717751"/>
                    </a:lnTo>
                    <a:lnTo>
                      <a:pt x="801611" y="1717751"/>
                    </a:lnTo>
                    <a:lnTo>
                      <a:pt x="801611" y="1946783"/>
                    </a:lnTo>
                    <a:lnTo>
                      <a:pt x="801611" y="2290330"/>
                    </a:lnTo>
                    <a:lnTo>
                      <a:pt x="916127" y="2290330"/>
                    </a:lnTo>
                    <a:lnTo>
                      <a:pt x="916127" y="1946783"/>
                    </a:lnTo>
                    <a:lnTo>
                      <a:pt x="916127" y="1832267"/>
                    </a:lnTo>
                    <a:lnTo>
                      <a:pt x="1030643" y="1832267"/>
                    </a:lnTo>
                    <a:lnTo>
                      <a:pt x="1030643" y="1603235"/>
                    </a:lnTo>
                    <a:close/>
                  </a:path>
                  <a:path w="1259839" h="2863215">
                    <a:moveTo>
                      <a:pt x="1030643" y="1030655"/>
                    </a:moveTo>
                    <a:lnTo>
                      <a:pt x="916127" y="1030655"/>
                    </a:lnTo>
                    <a:lnTo>
                      <a:pt x="916127" y="1259687"/>
                    </a:lnTo>
                    <a:lnTo>
                      <a:pt x="916127" y="1374203"/>
                    </a:lnTo>
                    <a:lnTo>
                      <a:pt x="1030643" y="1374203"/>
                    </a:lnTo>
                    <a:lnTo>
                      <a:pt x="1030643" y="1259687"/>
                    </a:lnTo>
                    <a:lnTo>
                      <a:pt x="1030643" y="1030655"/>
                    </a:lnTo>
                    <a:close/>
                  </a:path>
                  <a:path w="1259839" h="2863215">
                    <a:moveTo>
                      <a:pt x="1030643" y="687095"/>
                    </a:moveTo>
                    <a:lnTo>
                      <a:pt x="916127" y="687095"/>
                    </a:lnTo>
                    <a:lnTo>
                      <a:pt x="801611" y="687095"/>
                    </a:lnTo>
                    <a:lnTo>
                      <a:pt x="801611" y="801611"/>
                    </a:lnTo>
                    <a:lnTo>
                      <a:pt x="916127" y="801611"/>
                    </a:lnTo>
                    <a:lnTo>
                      <a:pt x="1030643" y="801611"/>
                    </a:lnTo>
                    <a:lnTo>
                      <a:pt x="1030643" y="687095"/>
                    </a:lnTo>
                    <a:close/>
                  </a:path>
                  <a:path w="1259839" h="2863215">
                    <a:moveTo>
                      <a:pt x="1030643" y="229031"/>
                    </a:moveTo>
                    <a:lnTo>
                      <a:pt x="916127" y="229031"/>
                    </a:lnTo>
                    <a:lnTo>
                      <a:pt x="801611" y="229031"/>
                    </a:lnTo>
                    <a:lnTo>
                      <a:pt x="801611" y="572579"/>
                    </a:lnTo>
                    <a:lnTo>
                      <a:pt x="916127" y="572579"/>
                    </a:lnTo>
                    <a:lnTo>
                      <a:pt x="1030643" y="572579"/>
                    </a:lnTo>
                    <a:lnTo>
                      <a:pt x="1030643" y="229031"/>
                    </a:lnTo>
                    <a:close/>
                  </a:path>
                  <a:path w="1259839" h="2863215">
                    <a:moveTo>
                      <a:pt x="1030643" y="0"/>
                    </a:moveTo>
                    <a:lnTo>
                      <a:pt x="916127" y="0"/>
                    </a:lnTo>
                    <a:lnTo>
                      <a:pt x="801611" y="0"/>
                    </a:lnTo>
                    <a:lnTo>
                      <a:pt x="801611" y="114515"/>
                    </a:lnTo>
                    <a:lnTo>
                      <a:pt x="916127" y="114515"/>
                    </a:lnTo>
                    <a:lnTo>
                      <a:pt x="1030643" y="114515"/>
                    </a:lnTo>
                    <a:lnTo>
                      <a:pt x="1030643" y="0"/>
                    </a:lnTo>
                    <a:close/>
                  </a:path>
                  <a:path w="1259839" h="2863215">
                    <a:moveTo>
                      <a:pt x="1145171" y="2404859"/>
                    </a:moveTo>
                    <a:lnTo>
                      <a:pt x="1030655" y="2404859"/>
                    </a:lnTo>
                    <a:lnTo>
                      <a:pt x="1030655" y="2519375"/>
                    </a:lnTo>
                    <a:lnTo>
                      <a:pt x="1145171" y="2519375"/>
                    </a:lnTo>
                    <a:lnTo>
                      <a:pt x="1145171" y="2404859"/>
                    </a:lnTo>
                    <a:close/>
                  </a:path>
                  <a:path w="1259839" h="2863215">
                    <a:moveTo>
                      <a:pt x="1145171" y="1603235"/>
                    </a:moveTo>
                    <a:lnTo>
                      <a:pt x="1030655" y="1603235"/>
                    </a:lnTo>
                    <a:lnTo>
                      <a:pt x="1030655" y="1717751"/>
                    </a:lnTo>
                    <a:lnTo>
                      <a:pt x="1145171" y="1717751"/>
                    </a:lnTo>
                    <a:lnTo>
                      <a:pt x="1145171" y="1603235"/>
                    </a:lnTo>
                    <a:close/>
                  </a:path>
                  <a:path w="1259839" h="2863215">
                    <a:moveTo>
                      <a:pt x="1145171" y="1145171"/>
                    </a:moveTo>
                    <a:lnTo>
                      <a:pt x="1030655" y="1145171"/>
                    </a:lnTo>
                    <a:lnTo>
                      <a:pt x="1030655" y="1259687"/>
                    </a:lnTo>
                    <a:lnTo>
                      <a:pt x="1145171" y="1259687"/>
                    </a:lnTo>
                    <a:lnTo>
                      <a:pt x="1145171" y="1145171"/>
                    </a:lnTo>
                    <a:close/>
                  </a:path>
                  <a:path w="1259839" h="2863215">
                    <a:moveTo>
                      <a:pt x="1145171" y="916139"/>
                    </a:moveTo>
                    <a:lnTo>
                      <a:pt x="1030655" y="916139"/>
                    </a:lnTo>
                    <a:lnTo>
                      <a:pt x="1030655" y="1030655"/>
                    </a:lnTo>
                    <a:lnTo>
                      <a:pt x="1145171" y="1030655"/>
                    </a:lnTo>
                    <a:lnTo>
                      <a:pt x="1145171" y="916139"/>
                    </a:lnTo>
                    <a:close/>
                  </a:path>
                  <a:path w="1259839" h="2863215">
                    <a:moveTo>
                      <a:pt x="1145171" y="229031"/>
                    </a:moveTo>
                    <a:lnTo>
                      <a:pt x="1030655" y="229031"/>
                    </a:lnTo>
                    <a:lnTo>
                      <a:pt x="1030655" y="572579"/>
                    </a:lnTo>
                    <a:lnTo>
                      <a:pt x="1145171" y="572579"/>
                    </a:lnTo>
                    <a:lnTo>
                      <a:pt x="1145171" y="229031"/>
                    </a:lnTo>
                    <a:close/>
                  </a:path>
                  <a:path w="1259839" h="2863215">
                    <a:moveTo>
                      <a:pt x="1259687" y="1832267"/>
                    </a:moveTo>
                    <a:lnTo>
                      <a:pt x="1145171" y="1832267"/>
                    </a:lnTo>
                    <a:lnTo>
                      <a:pt x="1145171" y="1946783"/>
                    </a:lnTo>
                    <a:lnTo>
                      <a:pt x="1259687" y="1946783"/>
                    </a:lnTo>
                    <a:lnTo>
                      <a:pt x="1259687" y="1832267"/>
                    </a:lnTo>
                    <a:close/>
                  </a:path>
                  <a:path w="1259839" h="2863215">
                    <a:moveTo>
                      <a:pt x="1259687" y="1488719"/>
                    </a:moveTo>
                    <a:lnTo>
                      <a:pt x="1145171" y="1488719"/>
                    </a:lnTo>
                    <a:lnTo>
                      <a:pt x="1145171" y="1603235"/>
                    </a:lnTo>
                    <a:lnTo>
                      <a:pt x="1259687" y="1603235"/>
                    </a:lnTo>
                    <a:lnTo>
                      <a:pt x="1259687" y="1488719"/>
                    </a:lnTo>
                    <a:close/>
                  </a:path>
                  <a:path w="1259839" h="2863215">
                    <a:moveTo>
                      <a:pt x="1259687" y="1030655"/>
                    </a:moveTo>
                    <a:lnTo>
                      <a:pt x="1145171" y="1030655"/>
                    </a:lnTo>
                    <a:lnTo>
                      <a:pt x="1145171" y="1145171"/>
                    </a:lnTo>
                    <a:lnTo>
                      <a:pt x="1259687" y="1145171"/>
                    </a:lnTo>
                    <a:lnTo>
                      <a:pt x="1259687" y="1030655"/>
                    </a:lnTo>
                    <a:close/>
                  </a:path>
                  <a:path w="1259839" h="2863215">
                    <a:moveTo>
                      <a:pt x="1259687" y="687095"/>
                    </a:moveTo>
                    <a:lnTo>
                      <a:pt x="1145171" y="687095"/>
                    </a:lnTo>
                    <a:lnTo>
                      <a:pt x="1030655" y="687095"/>
                    </a:lnTo>
                    <a:lnTo>
                      <a:pt x="1030655" y="801611"/>
                    </a:lnTo>
                    <a:lnTo>
                      <a:pt x="1145171" y="801611"/>
                    </a:lnTo>
                    <a:lnTo>
                      <a:pt x="1259687" y="801611"/>
                    </a:lnTo>
                    <a:lnTo>
                      <a:pt x="1259687" y="687095"/>
                    </a:lnTo>
                    <a:close/>
                  </a:path>
                  <a:path w="1259839" h="2863215">
                    <a:moveTo>
                      <a:pt x="1259687" y="0"/>
                    </a:moveTo>
                    <a:lnTo>
                      <a:pt x="1145171" y="0"/>
                    </a:lnTo>
                    <a:lnTo>
                      <a:pt x="1030655" y="0"/>
                    </a:lnTo>
                    <a:lnTo>
                      <a:pt x="1030655" y="114515"/>
                    </a:lnTo>
                    <a:lnTo>
                      <a:pt x="1145171" y="114515"/>
                    </a:lnTo>
                    <a:lnTo>
                      <a:pt x="1259687" y="114515"/>
                    </a:lnTo>
                    <a:lnTo>
                      <a:pt x="1259687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object 12"/>
              <p:cNvSpPr/>
              <p:nvPr/>
            </p:nvSpPr>
            <p:spPr>
              <a:xfrm>
                <a:off x="3303219" y="3428072"/>
                <a:ext cx="229235" cy="286321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2863215">
                    <a:moveTo>
                      <a:pt x="114515" y="2175814"/>
                    </a:moveTo>
                    <a:lnTo>
                      <a:pt x="0" y="2175814"/>
                    </a:lnTo>
                    <a:lnTo>
                      <a:pt x="0" y="2290330"/>
                    </a:lnTo>
                    <a:lnTo>
                      <a:pt x="114515" y="2290330"/>
                    </a:lnTo>
                    <a:lnTo>
                      <a:pt x="114515" y="2175814"/>
                    </a:lnTo>
                    <a:close/>
                  </a:path>
                  <a:path w="229235" h="2863215">
                    <a:moveTo>
                      <a:pt x="114515" y="1832267"/>
                    </a:moveTo>
                    <a:lnTo>
                      <a:pt x="0" y="1832267"/>
                    </a:lnTo>
                    <a:lnTo>
                      <a:pt x="0" y="1946783"/>
                    </a:lnTo>
                    <a:lnTo>
                      <a:pt x="114515" y="1946783"/>
                    </a:lnTo>
                    <a:lnTo>
                      <a:pt x="114515" y="1832267"/>
                    </a:lnTo>
                    <a:close/>
                  </a:path>
                  <a:path w="229235" h="2863215">
                    <a:moveTo>
                      <a:pt x="229031" y="2748407"/>
                    </a:moveTo>
                    <a:lnTo>
                      <a:pt x="114515" y="2748407"/>
                    </a:lnTo>
                    <a:lnTo>
                      <a:pt x="114515" y="2862923"/>
                    </a:lnTo>
                    <a:lnTo>
                      <a:pt x="229031" y="2862923"/>
                    </a:lnTo>
                    <a:lnTo>
                      <a:pt x="229031" y="2748407"/>
                    </a:lnTo>
                    <a:close/>
                  </a:path>
                  <a:path w="229235" h="2863215">
                    <a:moveTo>
                      <a:pt x="229031" y="2519375"/>
                    </a:moveTo>
                    <a:lnTo>
                      <a:pt x="114515" y="2519375"/>
                    </a:lnTo>
                    <a:lnTo>
                      <a:pt x="114515" y="2404859"/>
                    </a:lnTo>
                    <a:lnTo>
                      <a:pt x="0" y="2404859"/>
                    </a:lnTo>
                    <a:lnTo>
                      <a:pt x="0" y="2633891"/>
                    </a:lnTo>
                    <a:lnTo>
                      <a:pt x="114515" y="2633891"/>
                    </a:lnTo>
                    <a:lnTo>
                      <a:pt x="229031" y="2633891"/>
                    </a:lnTo>
                    <a:lnTo>
                      <a:pt x="229031" y="2519375"/>
                    </a:lnTo>
                    <a:close/>
                  </a:path>
                  <a:path w="229235" h="2863215">
                    <a:moveTo>
                      <a:pt x="229031" y="2290343"/>
                    </a:moveTo>
                    <a:lnTo>
                      <a:pt x="114515" y="2290343"/>
                    </a:lnTo>
                    <a:lnTo>
                      <a:pt x="114515" y="2404859"/>
                    </a:lnTo>
                    <a:lnTo>
                      <a:pt x="229031" y="2404859"/>
                    </a:lnTo>
                    <a:lnTo>
                      <a:pt x="229031" y="2290343"/>
                    </a:lnTo>
                    <a:close/>
                  </a:path>
                  <a:path w="229235" h="2863215">
                    <a:moveTo>
                      <a:pt x="229031" y="1946783"/>
                    </a:moveTo>
                    <a:lnTo>
                      <a:pt x="114515" y="1946783"/>
                    </a:lnTo>
                    <a:lnTo>
                      <a:pt x="114515" y="2175814"/>
                    </a:lnTo>
                    <a:lnTo>
                      <a:pt x="229031" y="2175814"/>
                    </a:lnTo>
                    <a:lnTo>
                      <a:pt x="229031" y="1946783"/>
                    </a:lnTo>
                    <a:close/>
                  </a:path>
                  <a:path w="229235" h="2863215">
                    <a:moveTo>
                      <a:pt x="229031" y="1374203"/>
                    </a:moveTo>
                    <a:lnTo>
                      <a:pt x="114515" y="1374203"/>
                    </a:lnTo>
                    <a:lnTo>
                      <a:pt x="114515" y="1717751"/>
                    </a:lnTo>
                    <a:lnTo>
                      <a:pt x="229031" y="1717751"/>
                    </a:lnTo>
                    <a:lnTo>
                      <a:pt x="229031" y="1374203"/>
                    </a:lnTo>
                    <a:close/>
                  </a:path>
                  <a:path w="229235" h="2863215">
                    <a:moveTo>
                      <a:pt x="229031" y="916139"/>
                    </a:moveTo>
                    <a:lnTo>
                      <a:pt x="114515" y="916139"/>
                    </a:lnTo>
                    <a:lnTo>
                      <a:pt x="114515" y="1259687"/>
                    </a:lnTo>
                    <a:lnTo>
                      <a:pt x="229031" y="1259687"/>
                    </a:lnTo>
                    <a:lnTo>
                      <a:pt x="229031" y="916139"/>
                    </a:lnTo>
                    <a:close/>
                  </a:path>
                  <a:path w="229235" h="2863215">
                    <a:moveTo>
                      <a:pt x="229031" y="0"/>
                    </a:moveTo>
                    <a:lnTo>
                      <a:pt x="114515" y="0"/>
                    </a:lnTo>
                    <a:lnTo>
                      <a:pt x="114515" y="687095"/>
                    </a:lnTo>
                    <a:lnTo>
                      <a:pt x="114515" y="801611"/>
                    </a:lnTo>
                    <a:lnTo>
                      <a:pt x="229031" y="801611"/>
                    </a:lnTo>
                    <a:lnTo>
                      <a:pt x="229031" y="687108"/>
                    </a:lnTo>
                    <a:lnTo>
                      <a:pt x="229031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8" name="object 13"/>
            <p:cNvSpPr/>
            <p:nvPr/>
          </p:nvSpPr>
          <p:spPr>
            <a:xfrm>
              <a:off x="669328" y="5489371"/>
              <a:ext cx="802005" cy="802005"/>
            </a:xfrm>
            <a:custGeom>
              <a:avLst/>
              <a:gdLst/>
              <a:ahLst/>
              <a:cxnLst/>
              <a:rect l="l" t="t" r="r" b="b"/>
              <a:pathLst>
                <a:path w="802005" h="802004">
                  <a:moveTo>
                    <a:pt x="343535" y="687108"/>
                  </a:moveTo>
                  <a:lnTo>
                    <a:pt x="229031" y="687108"/>
                  </a:lnTo>
                  <a:lnTo>
                    <a:pt x="114515" y="687108"/>
                  </a:lnTo>
                  <a:lnTo>
                    <a:pt x="114515" y="572592"/>
                  </a:lnTo>
                  <a:lnTo>
                    <a:pt x="114515" y="229044"/>
                  </a:lnTo>
                  <a:lnTo>
                    <a:pt x="0" y="229044"/>
                  </a:lnTo>
                  <a:lnTo>
                    <a:pt x="0" y="572592"/>
                  </a:lnTo>
                  <a:lnTo>
                    <a:pt x="0" y="801624"/>
                  </a:lnTo>
                  <a:lnTo>
                    <a:pt x="114515" y="801624"/>
                  </a:lnTo>
                  <a:lnTo>
                    <a:pt x="229031" y="801624"/>
                  </a:lnTo>
                  <a:lnTo>
                    <a:pt x="343535" y="801624"/>
                  </a:lnTo>
                  <a:lnTo>
                    <a:pt x="343535" y="687108"/>
                  </a:lnTo>
                  <a:close/>
                </a:path>
                <a:path w="802005" h="802004">
                  <a:moveTo>
                    <a:pt x="343535" y="229044"/>
                  </a:moveTo>
                  <a:lnTo>
                    <a:pt x="229031" y="229044"/>
                  </a:lnTo>
                  <a:lnTo>
                    <a:pt x="229031" y="572592"/>
                  </a:lnTo>
                  <a:lnTo>
                    <a:pt x="343535" y="572592"/>
                  </a:lnTo>
                  <a:lnTo>
                    <a:pt x="343535" y="229044"/>
                  </a:lnTo>
                  <a:close/>
                </a:path>
                <a:path w="802005" h="802004">
                  <a:moveTo>
                    <a:pt x="343535" y="0"/>
                  </a:moveTo>
                  <a:lnTo>
                    <a:pt x="229031" y="0"/>
                  </a:lnTo>
                  <a:lnTo>
                    <a:pt x="114515" y="0"/>
                  </a:lnTo>
                  <a:lnTo>
                    <a:pt x="0" y="0"/>
                  </a:lnTo>
                  <a:lnTo>
                    <a:pt x="0" y="229031"/>
                  </a:lnTo>
                  <a:lnTo>
                    <a:pt x="114515" y="229031"/>
                  </a:lnTo>
                  <a:lnTo>
                    <a:pt x="114515" y="114515"/>
                  </a:lnTo>
                  <a:lnTo>
                    <a:pt x="229031" y="114515"/>
                  </a:lnTo>
                  <a:lnTo>
                    <a:pt x="343535" y="114515"/>
                  </a:lnTo>
                  <a:lnTo>
                    <a:pt x="343535" y="0"/>
                  </a:lnTo>
                  <a:close/>
                </a:path>
                <a:path w="802005" h="802004">
                  <a:moveTo>
                    <a:pt x="572579" y="229044"/>
                  </a:moveTo>
                  <a:lnTo>
                    <a:pt x="458063" y="229044"/>
                  </a:lnTo>
                  <a:lnTo>
                    <a:pt x="343547" y="229044"/>
                  </a:lnTo>
                  <a:lnTo>
                    <a:pt x="343547" y="572592"/>
                  </a:lnTo>
                  <a:lnTo>
                    <a:pt x="458063" y="572592"/>
                  </a:lnTo>
                  <a:lnTo>
                    <a:pt x="572579" y="572592"/>
                  </a:lnTo>
                  <a:lnTo>
                    <a:pt x="572579" y="229044"/>
                  </a:lnTo>
                  <a:close/>
                </a:path>
                <a:path w="802005" h="802004">
                  <a:moveTo>
                    <a:pt x="687082" y="687108"/>
                  </a:moveTo>
                  <a:lnTo>
                    <a:pt x="572579" y="687108"/>
                  </a:lnTo>
                  <a:lnTo>
                    <a:pt x="458063" y="687108"/>
                  </a:lnTo>
                  <a:lnTo>
                    <a:pt x="343547" y="687108"/>
                  </a:lnTo>
                  <a:lnTo>
                    <a:pt x="343547" y="801624"/>
                  </a:lnTo>
                  <a:lnTo>
                    <a:pt x="458063" y="801624"/>
                  </a:lnTo>
                  <a:lnTo>
                    <a:pt x="572579" y="801624"/>
                  </a:lnTo>
                  <a:lnTo>
                    <a:pt x="687082" y="801624"/>
                  </a:lnTo>
                  <a:lnTo>
                    <a:pt x="687082" y="687108"/>
                  </a:lnTo>
                  <a:close/>
                </a:path>
                <a:path w="802005" h="802004">
                  <a:moveTo>
                    <a:pt x="687082" y="0"/>
                  </a:moveTo>
                  <a:lnTo>
                    <a:pt x="572579" y="0"/>
                  </a:lnTo>
                  <a:lnTo>
                    <a:pt x="458063" y="0"/>
                  </a:lnTo>
                  <a:lnTo>
                    <a:pt x="343547" y="0"/>
                  </a:lnTo>
                  <a:lnTo>
                    <a:pt x="343547" y="114515"/>
                  </a:lnTo>
                  <a:lnTo>
                    <a:pt x="458063" y="114515"/>
                  </a:lnTo>
                  <a:lnTo>
                    <a:pt x="572579" y="114515"/>
                  </a:lnTo>
                  <a:lnTo>
                    <a:pt x="687082" y="114515"/>
                  </a:lnTo>
                  <a:lnTo>
                    <a:pt x="687082" y="0"/>
                  </a:lnTo>
                  <a:close/>
                </a:path>
                <a:path w="802005" h="802004">
                  <a:moveTo>
                    <a:pt x="801611" y="229044"/>
                  </a:moveTo>
                  <a:lnTo>
                    <a:pt x="687095" y="229044"/>
                  </a:lnTo>
                  <a:lnTo>
                    <a:pt x="687095" y="572592"/>
                  </a:lnTo>
                  <a:lnTo>
                    <a:pt x="687095" y="801624"/>
                  </a:lnTo>
                  <a:lnTo>
                    <a:pt x="801611" y="801624"/>
                  </a:lnTo>
                  <a:lnTo>
                    <a:pt x="801611" y="572592"/>
                  </a:lnTo>
                  <a:lnTo>
                    <a:pt x="801611" y="229044"/>
                  </a:lnTo>
                  <a:close/>
                </a:path>
                <a:path w="802005" h="802004">
                  <a:moveTo>
                    <a:pt x="801611" y="0"/>
                  </a:moveTo>
                  <a:lnTo>
                    <a:pt x="687095" y="0"/>
                  </a:lnTo>
                  <a:lnTo>
                    <a:pt x="687095" y="229031"/>
                  </a:lnTo>
                  <a:lnTo>
                    <a:pt x="801611" y="229031"/>
                  </a:lnTo>
                  <a:lnTo>
                    <a:pt x="801611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object 14"/>
            <p:cNvSpPr/>
            <p:nvPr/>
          </p:nvSpPr>
          <p:spPr>
            <a:xfrm>
              <a:off x="898359" y="4344212"/>
              <a:ext cx="114935" cy="114935"/>
            </a:xfrm>
            <a:custGeom>
              <a:avLst/>
              <a:gdLst/>
              <a:ahLst/>
              <a:cxnLst/>
              <a:rect l="l" t="t" r="r" b="b"/>
              <a:pathLst>
                <a:path w="114934" h="114935">
                  <a:moveTo>
                    <a:pt x="114515" y="0"/>
                  </a:moveTo>
                  <a:lnTo>
                    <a:pt x="0" y="0"/>
                  </a:lnTo>
                  <a:lnTo>
                    <a:pt x="0" y="114515"/>
                  </a:lnTo>
                  <a:lnTo>
                    <a:pt x="114515" y="114515"/>
                  </a:lnTo>
                  <a:lnTo>
                    <a:pt x="114515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3115312" y="2170772"/>
            <a:ext cx="1440000" cy="1440000"/>
            <a:chOff x="3904894" y="3428250"/>
            <a:chExt cx="2864485" cy="2864485"/>
          </a:xfrm>
        </p:grpSpPr>
        <p:sp>
          <p:nvSpPr>
            <p:cNvPr id="64" name="object 15"/>
            <p:cNvSpPr/>
            <p:nvPr/>
          </p:nvSpPr>
          <p:spPr>
            <a:xfrm>
              <a:off x="3904894" y="3428250"/>
              <a:ext cx="802005" cy="802005"/>
            </a:xfrm>
            <a:custGeom>
              <a:avLst/>
              <a:gdLst/>
              <a:ahLst/>
              <a:cxnLst/>
              <a:rect l="l" t="t" r="r" b="b"/>
              <a:pathLst>
                <a:path w="802004" h="802004">
                  <a:moveTo>
                    <a:pt x="572820" y="229120"/>
                  </a:moveTo>
                  <a:lnTo>
                    <a:pt x="458254" y="229120"/>
                  </a:lnTo>
                  <a:lnTo>
                    <a:pt x="343687" y="229120"/>
                  </a:lnTo>
                  <a:lnTo>
                    <a:pt x="229120" y="229120"/>
                  </a:lnTo>
                  <a:lnTo>
                    <a:pt x="229120" y="572808"/>
                  </a:lnTo>
                  <a:lnTo>
                    <a:pt x="343687" y="572808"/>
                  </a:lnTo>
                  <a:lnTo>
                    <a:pt x="458254" y="572808"/>
                  </a:lnTo>
                  <a:lnTo>
                    <a:pt x="572820" y="572808"/>
                  </a:lnTo>
                  <a:lnTo>
                    <a:pt x="572820" y="229120"/>
                  </a:lnTo>
                  <a:close/>
                </a:path>
                <a:path w="802004" h="802004">
                  <a:moveTo>
                    <a:pt x="801941" y="0"/>
                  </a:moveTo>
                  <a:lnTo>
                    <a:pt x="687374" y="0"/>
                  </a:lnTo>
                  <a:lnTo>
                    <a:pt x="687374" y="114579"/>
                  </a:lnTo>
                  <a:lnTo>
                    <a:pt x="687374" y="687362"/>
                  </a:lnTo>
                  <a:lnTo>
                    <a:pt x="114566" y="687362"/>
                  </a:lnTo>
                  <a:lnTo>
                    <a:pt x="114566" y="114579"/>
                  </a:lnTo>
                  <a:lnTo>
                    <a:pt x="687374" y="114579"/>
                  </a:lnTo>
                  <a:lnTo>
                    <a:pt x="687374" y="0"/>
                  </a:lnTo>
                  <a:lnTo>
                    <a:pt x="0" y="0"/>
                  </a:lnTo>
                  <a:lnTo>
                    <a:pt x="0" y="687362"/>
                  </a:lnTo>
                  <a:lnTo>
                    <a:pt x="0" y="801928"/>
                  </a:lnTo>
                  <a:lnTo>
                    <a:pt x="114566" y="801928"/>
                  </a:lnTo>
                  <a:lnTo>
                    <a:pt x="229120" y="801928"/>
                  </a:lnTo>
                  <a:lnTo>
                    <a:pt x="801941" y="801928"/>
                  </a:lnTo>
                  <a:lnTo>
                    <a:pt x="801941" y="687362"/>
                  </a:lnTo>
                  <a:lnTo>
                    <a:pt x="801941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object 16"/>
            <p:cNvSpPr/>
            <p:nvPr/>
          </p:nvSpPr>
          <p:spPr>
            <a:xfrm>
              <a:off x="3904894" y="4344733"/>
              <a:ext cx="114935" cy="114935"/>
            </a:xfrm>
            <a:custGeom>
              <a:avLst/>
              <a:gdLst/>
              <a:ahLst/>
              <a:cxnLst/>
              <a:rect l="l" t="t" r="r" b="b"/>
              <a:pathLst>
                <a:path w="114935" h="114935">
                  <a:moveTo>
                    <a:pt x="114566" y="0"/>
                  </a:moveTo>
                  <a:lnTo>
                    <a:pt x="0" y="0"/>
                  </a:lnTo>
                  <a:lnTo>
                    <a:pt x="0" y="114566"/>
                  </a:lnTo>
                  <a:lnTo>
                    <a:pt x="114566" y="114566"/>
                  </a:lnTo>
                  <a:lnTo>
                    <a:pt x="114566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object 17"/>
            <p:cNvSpPr/>
            <p:nvPr/>
          </p:nvSpPr>
          <p:spPr>
            <a:xfrm>
              <a:off x="3904894" y="4802987"/>
              <a:ext cx="114935" cy="114935"/>
            </a:xfrm>
            <a:custGeom>
              <a:avLst/>
              <a:gdLst/>
              <a:ahLst/>
              <a:cxnLst/>
              <a:rect l="l" t="t" r="r" b="b"/>
              <a:pathLst>
                <a:path w="114935" h="114935">
                  <a:moveTo>
                    <a:pt x="114566" y="0"/>
                  </a:moveTo>
                  <a:lnTo>
                    <a:pt x="0" y="0"/>
                  </a:lnTo>
                  <a:lnTo>
                    <a:pt x="0" y="114566"/>
                  </a:lnTo>
                  <a:lnTo>
                    <a:pt x="114566" y="114566"/>
                  </a:lnTo>
                  <a:lnTo>
                    <a:pt x="114566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7" name="object 18"/>
            <p:cNvGrpSpPr/>
            <p:nvPr/>
          </p:nvGrpSpPr>
          <p:grpSpPr>
            <a:xfrm>
              <a:off x="3904894" y="3428250"/>
              <a:ext cx="2864485" cy="2864485"/>
              <a:chOff x="3904894" y="3428250"/>
              <a:chExt cx="2864485" cy="2864485"/>
            </a:xfrm>
          </p:grpSpPr>
          <p:sp>
            <p:nvSpPr>
              <p:cNvPr id="70" name="object 19"/>
              <p:cNvSpPr/>
              <p:nvPr/>
            </p:nvSpPr>
            <p:spPr>
              <a:xfrm>
                <a:off x="3904894" y="3428250"/>
                <a:ext cx="1718945" cy="2864485"/>
              </a:xfrm>
              <a:custGeom>
                <a:avLst/>
                <a:gdLst/>
                <a:ahLst/>
                <a:cxnLst/>
                <a:rect l="l" t="t" r="r" b="b"/>
                <a:pathLst>
                  <a:path w="1718945" h="2864485">
                    <a:moveTo>
                      <a:pt x="114566" y="1718424"/>
                    </a:moveTo>
                    <a:lnTo>
                      <a:pt x="0" y="1718424"/>
                    </a:lnTo>
                    <a:lnTo>
                      <a:pt x="0" y="1832978"/>
                    </a:lnTo>
                    <a:lnTo>
                      <a:pt x="114566" y="1832978"/>
                    </a:lnTo>
                    <a:lnTo>
                      <a:pt x="114566" y="1718424"/>
                    </a:lnTo>
                    <a:close/>
                  </a:path>
                  <a:path w="1718945" h="2864485">
                    <a:moveTo>
                      <a:pt x="687374" y="1718424"/>
                    </a:moveTo>
                    <a:lnTo>
                      <a:pt x="572808" y="1718424"/>
                    </a:lnTo>
                    <a:lnTo>
                      <a:pt x="572808" y="1832978"/>
                    </a:lnTo>
                    <a:lnTo>
                      <a:pt x="458254" y="1832978"/>
                    </a:lnTo>
                    <a:lnTo>
                      <a:pt x="458254" y="1718424"/>
                    </a:lnTo>
                    <a:lnTo>
                      <a:pt x="343687" y="1718424"/>
                    </a:lnTo>
                    <a:lnTo>
                      <a:pt x="343687" y="1947545"/>
                    </a:lnTo>
                    <a:lnTo>
                      <a:pt x="458254" y="1947545"/>
                    </a:lnTo>
                    <a:lnTo>
                      <a:pt x="572820" y="1947545"/>
                    </a:lnTo>
                    <a:lnTo>
                      <a:pt x="572820" y="1832978"/>
                    </a:lnTo>
                    <a:lnTo>
                      <a:pt x="687374" y="1832978"/>
                    </a:lnTo>
                    <a:lnTo>
                      <a:pt x="687374" y="1718424"/>
                    </a:lnTo>
                    <a:close/>
                  </a:path>
                  <a:path w="1718945" h="2864485">
                    <a:moveTo>
                      <a:pt x="801941" y="1832978"/>
                    </a:moveTo>
                    <a:lnTo>
                      <a:pt x="687374" y="1832978"/>
                    </a:lnTo>
                    <a:lnTo>
                      <a:pt x="687374" y="1947545"/>
                    </a:lnTo>
                    <a:lnTo>
                      <a:pt x="801941" y="1947545"/>
                    </a:lnTo>
                    <a:lnTo>
                      <a:pt x="801941" y="1832978"/>
                    </a:lnTo>
                    <a:close/>
                  </a:path>
                  <a:path w="1718945" h="2864485">
                    <a:moveTo>
                      <a:pt x="1260182" y="2749473"/>
                    </a:moveTo>
                    <a:lnTo>
                      <a:pt x="1145616" y="2749473"/>
                    </a:lnTo>
                    <a:lnTo>
                      <a:pt x="1145616" y="2864040"/>
                    </a:lnTo>
                    <a:lnTo>
                      <a:pt x="1260182" y="2864040"/>
                    </a:lnTo>
                    <a:lnTo>
                      <a:pt x="1260182" y="2749473"/>
                    </a:lnTo>
                    <a:close/>
                  </a:path>
                  <a:path w="1718945" h="2864485">
                    <a:moveTo>
                      <a:pt x="1260182" y="1832978"/>
                    </a:moveTo>
                    <a:lnTo>
                      <a:pt x="1145616" y="1832978"/>
                    </a:lnTo>
                    <a:lnTo>
                      <a:pt x="1145616" y="1947545"/>
                    </a:lnTo>
                    <a:lnTo>
                      <a:pt x="1145616" y="2062111"/>
                    </a:lnTo>
                    <a:lnTo>
                      <a:pt x="1260182" y="2062111"/>
                    </a:lnTo>
                    <a:lnTo>
                      <a:pt x="1260182" y="1947545"/>
                    </a:lnTo>
                    <a:lnTo>
                      <a:pt x="1260182" y="1832978"/>
                    </a:lnTo>
                    <a:close/>
                  </a:path>
                  <a:path w="1718945" h="2864485">
                    <a:moveTo>
                      <a:pt x="1489303" y="2291219"/>
                    </a:moveTo>
                    <a:lnTo>
                      <a:pt x="1374736" y="2291219"/>
                    </a:lnTo>
                    <a:lnTo>
                      <a:pt x="1374736" y="2405786"/>
                    </a:lnTo>
                    <a:lnTo>
                      <a:pt x="1260182" y="2405786"/>
                    </a:lnTo>
                    <a:lnTo>
                      <a:pt x="1260182" y="2291219"/>
                    </a:lnTo>
                    <a:lnTo>
                      <a:pt x="1145616" y="2291219"/>
                    </a:lnTo>
                    <a:lnTo>
                      <a:pt x="1145616" y="2176665"/>
                    </a:lnTo>
                    <a:lnTo>
                      <a:pt x="1031062" y="2176665"/>
                    </a:lnTo>
                    <a:lnTo>
                      <a:pt x="1031062" y="1947545"/>
                    </a:lnTo>
                    <a:lnTo>
                      <a:pt x="916495" y="1947545"/>
                    </a:lnTo>
                    <a:lnTo>
                      <a:pt x="916495" y="2291232"/>
                    </a:lnTo>
                    <a:lnTo>
                      <a:pt x="1031062" y="2291232"/>
                    </a:lnTo>
                    <a:lnTo>
                      <a:pt x="1145616" y="2291232"/>
                    </a:lnTo>
                    <a:lnTo>
                      <a:pt x="1145616" y="2405786"/>
                    </a:lnTo>
                    <a:lnTo>
                      <a:pt x="1031062" y="2405786"/>
                    </a:lnTo>
                    <a:lnTo>
                      <a:pt x="916495" y="2405786"/>
                    </a:lnTo>
                    <a:lnTo>
                      <a:pt x="916495" y="2634907"/>
                    </a:lnTo>
                    <a:lnTo>
                      <a:pt x="1031062" y="2634907"/>
                    </a:lnTo>
                    <a:lnTo>
                      <a:pt x="1145616" y="2634907"/>
                    </a:lnTo>
                    <a:lnTo>
                      <a:pt x="1145616" y="2520340"/>
                    </a:lnTo>
                    <a:lnTo>
                      <a:pt x="1260182" y="2520340"/>
                    </a:lnTo>
                    <a:lnTo>
                      <a:pt x="1260182" y="2634907"/>
                    </a:lnTo>
                    <a:lnTo>
                      <a:pt x="1260182" y="2749461"/>
                    </a:lnTo>
                    <a:lnTo>
                      <a:pt x="1374749" y="2749461"/>
                    </a:lnTo>
                    <a:lnTo>
                      <a:pt x="1374749" y="2634907"/>
                    </a:lnTo>
                    <a:lnTo>
                      <a:pt x="1374749" y="2405786"/>
                    </a:lnTo>
                    <a:lnTo>
                      <a:pt x="1489303" y="2405786"/>
                    </a:lnTo>
                    <a:lnTo>
                      <a:pt x="1489303" y="2291219"/>
                    </a:lnTo>
                    <a:close/>
                  </a:path>
                  <a:path w="1718945" h="2864485">
                    <a:moveTo>
                      <a:pt x="1603870" y="2634907"/>
                    </a:moveTo>
                    <a:lnTo>
                      <a:pt x="1489303" y="2634907"/>
                    </a:lnTo>
                    <a:lnTo>
                      <a:pt x="1489303" y="2864027"/>
                    </a:lnTo>
                    <a:lnTo>
                      <a:pt x="1603870" y="2864027"/>
                    </a:lnTo>
                    <a:lnTo>
                      <a:pt x="1603870" y="2634907"/>
                    </a:lnTo>
                    <a:close/>
                  </a:path>
                  <a:path w="1718945" h="2864485">
                    <a:moveTo>
                      <a:pt x="1718411" y="2062099"/>
                    </a:moveTo>
                    <a:lnTo>
                      <a:pt x="1603870" y="2062099"/>
                    </a:lnTo>
                    <a:lnTo>
                      <a:pt x="1603870" y="1947545"/>
                    </a:lnTo>
                    <a:lnTo>
                      <a:pt x="1603870" y="1832978"/>
                    </a:lnTo>
                    <a:lnTo>
                      <a:pt x="1489303" y="1832978"/>
                    </a:lnTo>
                    <a:lnTo>
                      <a:pt x="1489303" y="1947545"/>
                    </a:lnTo>
                    <a:lnTo>
                      <a:pt x="1489303" y="2062111"/>
                    </a:lnTo>
                    <a:lnTo>
                      <a:pt x="1603857" y="2062111"/>
                    </a:lnTo>
                    <a:lnTo>
                      <a:pt x="1603857" y="2176665"/>
                    </a:lnTo>
                    <a:lnTo>
                      <a:pt x="1718411" y="2176665"/>
                    </a:lnTo>
                    <a:lnTo>
                      <a:pt x="1718411" y="2062099"/>
                    </a:lnTo>
                    <a:close/>
                  </a:path>
                  <a:path w="1718945" h="2864485">
                    <a:moveTo>
                      <a:pt x="1718411" y="916482"/>
                    </a:moveTo>
                    <a:lnTo>
                      <a:pt x="1603857" y="916482"/>
                    </a:lnTo>
                    <a:lnTo>
                      <a:pt x="1603857" y="1031062"/>
                    </a:lnTo>
                    <a:lnTo>
                      <a:pt x="1718411" y="1031062"/>
                    </a:lnTo>
                    <a:lnTo>
                      <a:pt x="1718411" y="916482"/>
                    </a:lnTo>
                    <a:close/>
                  </a:path>
                  <a:path w="1718945" h="2864485">
                    <a:moveTo>
                      <a:pt x="1718411" y="687362"/>
                    </a:moveTo>
                    <a:lnTo>
                      <a:pt x="1603857" y="687362"/>
                    </a:lnTo>
                    <a:lnTo>
                      <a:pt x="1603857" y="801928"/>
                    </a:lnTo>
                    <a:lnTo>
                      <a:pt x="1718411" y="801928"/>
                    </a:lnTo>
                    <a:lnTo>
                      <a:pt x="1718411" y="687362"/>
                    </a:lnTo>
                    <a:close/>
                  </a:path>
                  <a:path w="1718945" h="2864485">
                    <a:moveTo>
                      <a:pt x="1718411" y="229120"/>
                    </a:moveTo>
                    <a:lnTo>
                      <a:pt x="1603870" y="229120"/>
                    </a:lnTo>
                    <a:lnTo>
                      <a:pt x="1603870" y="0"/>
                    </a:lnTo>
                    <a:lnTo>
                      <a:pt x="1489303" y="0"/>
                    </a:lnTo>
                    <a:lnTo>
                      <a:pt x="1489303" y="114579"/>
                    </a:lnTo>
                    <a:lnTo>
                      <a:pt x="1489303" y="229120"/>
                    </a:lnTo>
                    <a:lnTo>
                      <a:pt x="1374749" y="229120"/>
                    </a:lnTo>
                    <a:lnTo>
                      <a:pt x="1374749" y="114579"/>
                    </a:lnTo>
                    <a:lnTo>
                      <a:pt x="1489303" y="114579"/>
                    </a:lnTo>
                    <a:lnTo>
                      <a:pt x="1489303" y="0"/>
                    </a:lnTo>
                    <a:lnTo>
                      <a:pt x="1374736" y="0"/>
                    </a:lnTo>
                    <a:lnTo>
                      <a:pt x="1374736" y="114554"/>
                    </a:lnTo>
                    <a:lnTo>
                      <a:pt x="1260182" y="114554"/>
                    </a:lnTo>
                    <a:lnTo>
                      <a:pt x="1145616" y="114554"/>
                    </a:lnTo>
                    <a:lnTo>
                      <a:pt x="1145616" y="0"/>
                    </a:lnTo>
                    <a:lnTo>
                      <a:pt x="1031062" y="0"/>
                    </a:lnTo>
                    <a:lnTo>
                      <a:pt x="916495" y="0"/>
                    </a:lnTo>
                    <a:lnTo>
                      <a:pt x="916495" y="229120"/>
                    </a:lnTo>
                    <a:lnTo>
                      <a:pt x="1031062" y="229120"/>
                    </a:lnTo>
                    <a:lnTo>
                      <a:pt x="1031062" y="343687"/>
                    </a:lnTo>
                    <a:lnTo>
                      <a:pt x="916495" y="343687"/>
                    </a:lnTo>
                    <a:lnTo>
                      <a:pt x="916495" y="458254"/>
                    </a:lnTo>
                    <a:lnTo>
                      <a:pt x="1031062" y="458254"/>
                    </a:lnTo>
                    <a:lnTo>
                      <a:pt x="1145616" y="458241"/>
                    </a:lnTo>
                    <a:lnTo>
                      <a:pt x="1145616" y="572808"/>
                    </a:lnTo>
                    <a:lnTo>
                      <a:pt x="1031062" y="572808"/>
                    </a:lnTo>
                    <a:lnTo>
                      <a:pt x="1031062" y="687362"/>
                    </a:lnTo>
                    <a:lnTo>
                      <a:pt x="916495" y="687362"/>
                    </a:lnTo>
                    <a:lnTo>
                      <a:pt x="916495" y="916482"/>
                    </a:lnTo>
                    <a:lnTo>
                      <a:pt x="1031062" y="916482"/>
                    </a:lnTo>
                    <a:lnTo>
                      <a:pt x="1031062" y="1145628"/>
                    </a:lnTo>
                    <a:lnTo>
                      <a:pt x="1145616" y="1145628"/>
                    </a:lnTo>
                    <a:lnTo>
                      <a:pt x="1145616" y="1031062"/>
                    </a:lnTo>
                    <a:lnTo>
                      <a:pt x="1260182" y="1031062"/>
                    </a:lnTo>
                    <a:lnTo>
                      <a:pt x="1260182" y="1260170"/>
                    </a:lnTo>
                    <a:lnTo>
                      <a:pt x="1145616" y="1260170"/>
                    </a:lnTo>
                    <a:lnTo>
                      <a:pt x="1031062" y="1260170"/>
                    </a:lnTo>
                    <a:lnTo>
                      <a:pt x="916495" y="1260170"/>
                    </a:lnTo>
                    <a:lnTo>
                      <a:pt x="801941" y="1260170"/>
                    </a:lnTo>
                    <a:lnTo>
                      <a:pt x="801941" y="1145616"/>
                    </a:lnTo>
                    <a:lnTo>
                      <a:pt x="687374" y="1145616"/>
                    </a:lnTo>
                    <a:lnTo>
                      <a:pt x="687374" y="1260170"/>
                    </a:lnTo>
                    <a:lnTo>
                      <a:pt x="572820" y="1260170"/>
                    </a:lnTo>
                    <a:lnTo>
                      <a:pt x="572820" y="1031062"/>
                    </a:lnTo>
                    <a:lnTo>
                      <a:pt x="687374" y="1031062"/>
                    </a:lnTo>
                    <a:lnTo>
                      <a:pt x="801928" y="1031062"/>
                    </a:lnTo>
                    <a:lnTo>
                      <a:pt x="916495" y="1031062"/>
                    </a:lnTo>
                    <a:lnTo>
                      <a:pt x="916495" y="916482"/>
                    </a:lnTo>
                    <a:lnTo>
                      <a:pt x="801941" y="916482"/>
                    </a:lnTo>
                    <a:lnTo>
                      <a:pt x="687374" y="916482"/>
                    </a:lnTo>
                    <a:lnTo>
                      <a:pt x="572808" y="916482"/>
                    </a:lnTo>
                    <a:lnTo>
                      <a:pt x="572808" y="1031049"/>
                    </a:lnTo>
                    <a:lnTo>
                      <a:pt x="458254" y="1031049"/>
                    </a:lnTo>
                    <a:lnTo>
                      <a:pt x="458254" y="916482"/>
                    </a:lnTo>
                    <a:lnTo>
                      <a:pt x="343687" y="916482"/>
                    </a:lnTo>
                    <a:lnTo>
                      <a:pt x="229120" y="916482"/>
                    </a:lnTo>
                    <a:lnTo>
                      <a:pt x="229120" y="1031062"/>
                    </a:lnTo>
                    <a:lnTo>
                      <a:pt x="343687" y="1031062"/>
                    </a:lnTo>
                    <a:lnTo>
                      <a:pt x="343687" y="1145616"/>
                    </a:lnTo>
                    <a:lnTo>
                      <a:pt x="229120" y="1145616"/>
                    </a:lnTo>
                    <a:lnTo>
                      <a:pt x="114566" y="1145616"/>
                    </a:lnTo>
                    <a:lnTo>
                      <a:pt x="114566" y="1260182"/>
                    </a:lnTo>
                    <a:lnTo>
                      <a:pt x="229120" y="1260182"/>
                    </a:lnTo>
                    <a:lnTo>
                      <a:pt x="229120" y="1603857"/>
                    </a:lnTo>
                    <a:lnTo>
                      <a:pt x="114566" y="1603857"/>
                    </a:lnTo>
                    <a:lnTo>
                      <a:pt x="114566" y="1718424"/>
                    </a:lnTo>
                    <a:lnTo>
                      <a:pt x="229120" y="1718424"/>
                    </a:lnTo>
                    <a:lnTo>
                      <a:pt x="343687" y="1718411"/>
                    </a:lnTo>
                    <a:lnTo>
                      <a:pt x="343687" y="1489303"/>
                    </a:lnTo>
                    <a:lnTo>
                      <a:pt x="458254" y="1489303"/>
                    </a:lnTo>
                    <a:lnTo>
                      <a:pt x="458254" y="1718411"/>
                    </a:lnTo>
                    <a:lnTo>
                      <a:pt x="572820" y="1718411"/>
                    </a:lnTo>
                    <a:lnTo>
                      <a:pt x="572820" y="1489290"/>
                    </a:lnTo>
                    <a:lnTo>
                      <a:pt x="458254" y="1489290"/>
                    </a:lnTo>
                    <a:lnTo>
                      <a:pt x="458254" y="1374736"/>
                    </a:lnTo>
                    <a:lnTo>
                      <a:pt x="343687" y="1374736"/>
                    </a:lnTo>
                    <a:lnTo>
                      <a:pt x="343687" y="1260182"/>
                    </a:lnTo>
                    <a:lnTo>
                      <a:pt x="458254" y="1260182"/>
                    </a:lnTo>
                    <a:lnTo>
                      <a:pt x="572808" y="1260170"/>
                    </a:lnTo>
                    <a:lnTo>
                      <a:pt x="572808" y="1374736"/>
                    </a:lnTo>
                    <a:lnTo>
                      <a:pt x="687374" y="1374736"/>
                    </a:lnTo>
                    <a:lnTo>
                      <a:pt x="687374" y="1260182"/>
                    </a:lnTo>
                    <a:lnTo>
                      <a:pt x="801928" y="1260182"/>
                    </a:lnTo>
                    <a:lnTo>
                      <a:pt x="801928" y="1374736"/>
                    </a:lnTo>
                    <a:lnTo>
                      <a:pt x="687374" y="1374736"/>
                    </a:lnTo>
                    <a:lnTo>
                      <a:pt x="687374" y="1489303"/>
                    </a:lnTo>
                    <a:lnTo>
                      <a:pt x="801941" y="1489303"/>
                    </a:lnTo>
                    <a:lnTo>
                      <a:pt x="801941" y="1374736"/>
                    </a:lnTo>
                    <a:lnTo>
                      <a:pt x="916495" y="1374736"/>
                    </a:lnTo>
                    <a:lnTo>
                      <a:pt x="916495" y="1603857"/>
                    </a:lnTo>
                    <a:lnTo>
                      <a:pt x="801941" y="1603857"/>
                    </a:lnTo>
                    <a:lnTo>
                      <a:pt x="687374" y="1603857"/>
                    </a:lnTo>
                    <a:lnTo>
                      <a:pt x="687374" y="1718424"/>
                    </a:lnTo>
                    <a:lnTo>
                      <a:pt x="801928" y="1718424"/>
                    </a:lnTo>
                    <a:lnTo>
                      <a:pt x="916495" y="1718424"/>
                    </a:lnTo>
                    <a:lnTo>
                      <a:pt x="1031062" y="1718411"/>
                    </a:lnTo>
                    <a:lnTo>
                      <a:pt x="1031062" y="1832978"/>
                    </a:lnTo>
                    <a:lnTo>
                      <a:pt x="1145616" y="1832978"/>
                    </a:lnTo>
                    <a:lnTo>
                      <a:pt x="1145616" y="1718411"/>
                    </a:lnTo>
                    <a:lnTo>
                      <a:pt x="1260182" y="1718411"/>
                    </a:lnTo>
                    <a:lnTo>
                      <a:pt x="1260182" y="1832978"/>
                    </a:lnTo>
                    <a:lnTo>
                      <a:pt x="1374749" y="1832978"/>
                    </a:lnTo>
                    <a:lnTo>
                      <a:pt x="1374749" y="1603857"/>
                    </a:lnTo>
                    <a:lnTo>
                      <a:pt x="1489303" y="1603857"/>
                    </a:lnTo>
                    <a:lnTo>
                      <a:pt x="1489303" y="1489290"/>
                    </a:lnTo>
                    <a:lnTo>
                      <a:pt x="1603857" y="1489290"/>
                    </a:lnTo>
                    <a:lnTo>
                      <a:pt x="1718411" y="1489290"/>
                    </a:lnTo>
                    <a:lnTo>
                      <a:pt x="1718411" y="1260182"/>
                    </a:lnTo>
                    <a:lnTo>
                      <a:pt x="1718411" y="1145616"/>
                    </a:lnTo>
                    <a:lnTo>
                      <a:pt x="1603857" y="1145616"/>
                    </a:lnTo>
                    <a:lnTo>
                      <a:pt x="1603857" y="1260170"/>
                    </a:lnTo>
                    <a:lnTo>
                      <a:pt x="1489303" y="1260170"/>
                    </a:lnTo>
                    <a:lnTo>
                      <a:pt x="1374749" y="1260170"/>
                    </a:lnTo>
                    <a:lnTo>
                      <a:pt x="1374749" y="1145603"/>
                    </a:lnTo>
                    <a:lnTo>
                      <a:pt x="1489303" y="1145603"/>
                    </a:lnTo>
                    <a:lnTo>
                      <a:pt x="1489303" y="916482"/>
                    </a:lnTo>
                    <a:lnTo>
                      <a:pt x="1374749" y="916482"/>
                    </a:lnTo>
                    <a:lnTo>
                      <a:pt x="1374736" y="1374736"/>
                    </a:lnTo>
                    <a:lnTo>
                      <a:pt x="1374736" y="1489290"/>
                    </a:lnTo>
                    <a:lnTo>
                      <a:pt x="1260182" y="1489290"/>
                    </a:lnTo>
                    <a:lnTo>
                      <a:pt x="1145616" y="1489290"/>
                    </a:lnTo>
                    <a:lnTo>
                      <a:pt x="1031062" y="1489290"/>
                    </a:lnTo>
                    <a:lnTo>
                      <a:pt x="1031062" y="1374736"/>
                    </a:lnTo>
                    <a:lnTo>
                      <a:pt x="1145616" y="1374736"/>
                    </a:lnTo>
                    <a:lnTo>
                      <a:pt x="1260182" y="1374736"/>
                    </a:lnTo>
                    <a:lnTo>
                      <a:pt x="1374736" y="1374736"/>
                    </a:lnTo>
                    <a:lnTo>
                      <a:pt x="1374736" y="916482"/>
                    </a:lnTo>
                    <a:lnTo>
                      <a:pt x="1260182" y="916482"/>
                    </a:lnTo>
                    <a:lnTo>
                      <a:pt x="1145616" y="916482"/>
                    </a:lnTo>
                    <a:lnTo>
                      <a:pt x="1145616" y="801928"/>
                    </a:lnTo>
                    <a:lnTo>
                      <a:pt x="1031062" y="801928"/>
                    </a:lnTo>
                    <a:lnTo>
                      <a:pt x="1031062" y="687374"/>
                    </a:lnTo>
                    <a:lnTo>
                      <a:pt x="1145616" y="687374"/>
                    </a:lnTo>
                    <a:lnTo>
                      <a:pt x="1145616" y="801928"/>
                    </a:lnTo>
                    <a:lnTo>
                      <a:pt x="1260182" y="801928"/>
                    </a:lnTo>
                    <a:lnTo>
                      <a:pt x="1260182" y="687374"/>
                    </a:lnTo>
                    <a:lnTo>
                      <a:pt x="1374736" y="687362"/>
                    </a:lnTo>
                    <a:lnTo>
                      <a:pt x="1374736" y="801928"/>
                    </a:lnTo>
                    <a:lnTo>
                      <a:pt x="1489303" y="801928"/>
                    </a:lnTo>
                    <a:lnTo>
                      <a:pt x="1489303" y="687362"/>
                    </a:lnTo>
                    <a:lnTo>
                      <a:pt x="1489303" y="458241"/>
                    </a:lnTo>
                    <a:lnTo>
                      <a:pt x="1374749" y="458241"/>
                    </a:lnTo>
                    <a:lnTo>
                      <a:pt x="1260182" y="458241"/>
                    </a:lnTo>
                    <a:lnTo>
                      <a:pt x="1260182" y="343687"/>
                    </a:lnTo>
                    <a:lnTo>
                      <a:pt x="1145616" y="343687"/>
                    </a:lnTo>
                    <a:lnTo>
                      <a:pt x="1145616" y="229120"/>
                    </a:lnTo>
                    <a:lnTo>
                      <a:pt x="1260182" y="229120"/>
                    </a:lnTo>
                    <a:lnTo>
                      <a:pt x="1374736" y="229120"/>
                    </a:lnTo>
                    <a:lnTo>
                      <a:pt x="1374736" y="343700"/>
                    </a:lnTo>
                    <a:lnTo>
                      <a:pt x="1489303" y="343700"/>
                    </a:lnTo>
                    <a:lnTo>
                      <a:pt x="1489303" y="458241"/>
                    </a:lnTo>
                    <a:lnTo>
                      <a:pt x="1603857" y="458241"/>
                    </a:lnTo>
                    <a:lnTo>
                      <a:pt x="1603857" y="572808"/>
                    </a:lnTo>
                    <a:lnTo>
                      <a:pt x="1718411" y="572808"/>
                    </a:lnTo>
                    <a:lnTo>
                      <a:pt x="1718411" y="22912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object 20"/>
              <p:cNvSpPr/>
              <p:nvPr/>
            </p:nvSpPr>
            <p:spPr>
              <a:xfrm>
                <a:off x="5508752" y="3428250"/>
                <a:ext cx="1260475" cy="2864485"/>
              </a:xfrm>
              <a:custGeom>
                <a:avLst/>
                <a:gdLst/>
                <a:ahLst/>
                <a:cxnLst/>
                <a:rect l="l" t="t" r="r" b="b"/>
                <a:pathLst>
                  <a:path w="1260475" h="2864485">
                    <a:moveTo>
                      <a:pt x="114554" y="2634907"/>
                    </a:moveTo>
                    <a:lnTo>
                      <a:pt x="0" y="2634907"/>
                    </a:lnTo>
                    <a:lnTo>
                      <a:pt x="0" y="2864027"/>
                    </a:lnTo>
                    <a:lnTo>
                      <a:pt x="114554" y="2864027"/>
                    </a:lnTo>
                    <a:lnTo>
                      <a:pt x="114554" y="2634907"/>
                    </a:lnTo>
                    <a:close/>
                  </a:path>
                  <a:path w="1260475" h="2864485">
                    <a:moveTo>
                      <a:pt x="114554" y="2291219"/>
                    </a:moveTo>
                    <a:lnTo>
                      <a:pt x="0" y="2291219"/>
                    </a:lnTo>
                    <a:lnTo>
                      <a:pt x="0" y="2405786"/>
                    </a:lnTo>
                    <a:lnTo>
                      <a:pt x="114554" y="2405786"/>
                    </a:lnTo>
                    <a:lnTo>
                      <a:pt x="114554" y="2291219"/>
                    </a:lnTo>
                    <a:close/>
                  </a:path>
                  <a:path w="1260475" h="2864485">
                    <a:moveTo>
                      <a:pt x="114554" y="2062099"/>
                    </a:moveTo>
                    <a:lnTo>
                      <a:pt x="0" y="2062099"/>
                    </a:lnTo>
                    <a:lnTo>
                      <a:pt x="0" y="2176665"/>
                    </a:lnTo>
                    <a:lnTo>
                      <a:pt x="114554" y="2176665"/>
                    </a:lnTo>
                    <a:lnTo>
                      <a:pt x="114554" y="2062099"/>
                    </a:lnTo>
                    <a:close/>
                  </a:path>
                  <a:path w="1260475" h="2864485">
                    <a:moveTo>
                      <a:pt x="229133" y="2520340"/>
                    </a:moveTo>
                    <a:lnTo>
                      <a:pt x="114566" y="2520340"/>
                    </a:lnTo>
                    <a:lnTo>
                      <a:pt x="114566" y="2634907"/>
                    </a:lnTo>
                    <a:lnTo>
                      <a:pt x="229133" y="2634907"/>
                    </a:lnTo>
                    <a:lnTo>
                      <a:pt x="229133" y="2520340"/>
                    </a:lnTo>
                    <a:close/>
                  </a:path>
                  <a:path w="1260475" h="2864485">
                    <a:moveTo>
                      <a:pt x="229133" y="1489290"/>
                    </a:moveTo>
                    <a:lnTo>
                      <a:pt x="114566" y="1489290"/>
                    </a:lnTo>
                    <a:lnTo>
                      <a:pt x="114566" y="1603844"/>
                    </a:lnTo>
                    <a:lnTo>
                      <a:pt x="229133" y="1603844"/>
                    </a:lnTo>
                    <a:lnTo>
                      <a:pt x="229133" y="1489290"/>
                    </a:lnTo>
                    <a:close/>
                  </a:path>
                  <a:path w="1260475" h="2864485">
                    <a:moveTo>
                      <a:pt x="229133" y="1260170"/>
                    </a:moveTo>
                    <a:lnTo>
                      <a:pt x="114566" y="1260170"/>
                    </a:lnTo>
                    <a:lnTo>
                      <a:pt x="114566" y="1374736"/>
                    </a:lnTo>
                    <a:lnTo>
                      <a:pt x="229133" y="1374736"/>
                    </a:lnTo>
                    <a:lnTo>
                      <a:pt x="229133" y="1260170"/>
                    </a:lnTo>
                    <a:close/>
                  </a:path>
                  <a:path w="1260475" h="2864485">
                    <a:moveTo>
                      <a:pt x="343687" y="1031049"/>
                    </a:moveTo>
                    <a:lnTo>
                      <a:pt x="229120" y="1031049"/>
                    </a:lnTo>
                    <a:lnTo>
                      <a:pt x="229120" y="1145616"/>
                    </a:lnTo>
                    <a:lnTo>
                      <a:pt x="343687" y="1145616"/>
                    </a:lnTo>
                    <a:lnTo>
                      <a:pt x="343687" y="1031049"/>
                    </a:lnTo>
                    <a:close/>
                  </a:path>
                  <a:path w="1260475" h="2864485">
                    <a:moveTo>
                      <a:pt x="343687" y="343687"/>
                    </a:moveTo>
                    <a:lnTo>
                      <a:pt x="229133" y="343687"/>
                    </a:lnTo>
                    <a:lnTo>
                      <a:pt x="114566" y="343687"/>
                    </a:lnTo>
                    <a:lnTo>
                      <a:pt x="114566" y="572808"/>
                    </a:lnTo>
                    <a:lnTo>
                      <a:pt x="229120" y="572808"/>
                    </a:lnTo>
                    <a:lnTo>
                      <a:pt x="229120" y="687362"/>
                    </a:lnTo>
                    <a:lnTo>
                      <a:pt x="229120" y="801928"/>
                    </a:lnTo>
                    <a:lnTo>
                      <a:pt x="114566" y="801928"/>
                    </a:lnTo>
                    <a:lnTo>
                      <a:pt x="114566" y="916508"/>
                    </a:lnTo>
                    <a:lnTo>
                      <a:pt x="229133" y="916508"/>
                    </a:lnTo>
                    <a:lnTo>
                      <a:pt x="229133" y="801928"/>
                    </a:lnTo>
                    <a:lnTo>
                      <a:pt x="343687" y="801928"/>
                    </a:lnTo>
                    <a:lnTo>
                      <a:pt x="343687" y="687374"/>
                    </a:lnTo>
                    <a:lnTo>
                      <a:pt x="343687" y="343687"/>
                    </a:lnTo>
                    <a:close/>
                  </a:path>
                  <a:path w="1260475" h="2864485">
                    <a:moveTo>
                      <a:pt x="343687" y="114554"/>
                    </a:moveTo>
                    <a:lnTo>
                      <a:pt x="229120" y="114554"/>
                    </a:lnTo>
                    <a:lnTo>
                      <a:pt x="229120" y="229120"/>
                    </a:lnTo>
                    <a:lnTo>
                      <a:pt x="343687" y="229120"/>
                    </a:lnTo>
                    <a:lnTo>
                      <a:pt x="343687" y="114554"/>
                    </a:lnTo>
                    <a:close/>
                  </a:path>
                  <a:path w="1260475" h="2864485">
                    <a:moveTo>
                      <a:pt x="572808" y="2062099"/>
                    </a:moveTo>
                    <a:lnTo>
                      <a:pt x="458254" y="2062099"/>
                    </a:lnTo>
                    <a:lnTo>
                      <a:pt x="458254" y="2176665"/>
                    </a:lnTo>
                    <a:lnTo>
                      <a:pt x="572808" y="2176665"/>
                    </a:lnTo>
                    <a:lnTo>
                      <a:pt x="572808" y="2062099"/>
                    </a:lnTo>
                    <a:close/>
                  </a:path>
                  <a:path w="1260475" h="2864485">
                    <a:moveTo>
                      <a:pt x="687374" y="1031049"/>
                    </a:moveTo>
                    <a:lnTo>
                      <a:pt x="572808" y="1031049"/>
                    </a:lnTo>
                    <a:lnTo>
                      <a:pt x="572808" y="916482"/>
                    </a:lnTo>
                    <a:lnTo>
                      <a:pt x="458254" y="916482"/>
                    </a:lnTo>
                    <a:lnTo>
                      <a:pt x="458254" y="1031062"/>
                    </a:lnTo>
                    <a:lnTo>
                      <a:pt x="572808" y="1031062"/>
                    </a:lnTo>
                    <a:lnTo>
                      <a:pt x="572808" y="1145616"/>
                    </a:lnTo>
                    <a:lnTo>
                      <a:pt x="687374" y="1145616"/>
                    </a:lnTo>
                    <a:lnTo>
                      <a:pt x="687374" y="1031049"/>
                    </a:lnTo>
                    <a:close/>
                  </a:path>
                  <a:path w="1260475" h="2864485">
                    <a:moveTo>
                      <a:pt x="916495" y="916482"/>
                    </a:moveTo>
                    <a:lnTo>
                      <a:pt x="801928" y="916482"/>
                    </a:lnTo>
                    <a:lnTo>
                      <a:pt x="801928" y="1031062"/>
                    </a:lnTo>
                    <a:lnTo>
                      <a:pt x="916495" y="1031062"/>
                    </a:lnTo>
                    <a:lnTo>
                      <a:pt x="916495" y="916482"/>
                    </a:lnTo>
                    <a:close/>
                  </a:path>
                  <a:path w="1260475" h="2864485">
                    <a:moveTo>
                      <a:pt x="1031062" y="229120"/>
                    </a:moveTo>
                    <a:lnTo>
                      <a:pt x="916495" y="229120"/>
                    </a:lnTo>
                    <a:lnTo>
                      <a:pt x="801941" y="229120"/>
                    </a:lnTo>
                    <a:lnTo>
                      <a:pt x="687374" y="229120"/>
                    </a:lnTo>
                    <a:lnTo>
                      <a:pt x="687374" y="572808"/>
                    </a:lnTo>
                    <a:lnTo>
                      <a:pt x="801928" y="572808"/>
                    </a:lnTo>
                    <a:lnTo>
                      <a:pt x="916495" y="572808"/>
                    </a:lnTo>
                    <a:lnTo>
                      <a:pt x="1031062" y="572808"/>
                    </a:lnTo>
                    <a:lnTo>
                      <a:pt x="1031062" y="229120"/>
                    </a:lnTo>
                    <a:close/>
                  </a:path>
                  <a:path w="1260475" h="2864485">
                    <a:moveTo>
                      <a:pt x="1145616" y="1603857"/>
                    </a:moveTo>
                    <a:lnTo>
                      <a:pt x="1031062" y="1603857"/>
                    </a:lnTo>
                    <a:lnTo>
                      <a:pt x="916495" y="1603857"/>
                    </a:lnTo>
                    <a:lnTo>
                      <a:pt x="916495" y="1718424"/>
                    </a:lnTo>
                    <a:lnTo>
                      <a:pt x="1031049" y="1718424"/>
                    </a:lnTo>
                    <a:lnTo>
                      <a:pt x="1145616" y="1718424"/>
                    </a:lnTo>
                    <a:lnTo>
                      <a:pt x="1145616" y="1603857"/>
                    </a:lnTo>
                    <a:close/>
                  </a:path>
                  <a:path w="1260475" h="2864485">
                    <a:moveTo>
                      <a:pt x="1145616" y="1374736"/>
                    </a:moveTo>
                    <a:lnTo>
                      <a:pt x="1031062" y="1374736"/>
                    </a:lnTo>
                    <a:lnTo>
                      <a:pt x="1031062" y="1260170"/>
                    </a:lnTo>
                    <a:lnTo>
                      <a:pt x="916495" y="1260170"/>
                    </a:lnTo>
                    <a:lnTo>
                      <a:pt x="801941" y="1260170"/>
                    </a:lnTo>
                    <a:lnTo>
                      <a:pt x="801941" y="1145616"/>
                    </a:lnTo>
                    <a:lnTo>
                      <a:pt x="687374" y="1145616"/>
                    </a:lnTo>
                    <a:lnTo>
                      <a:pt x="687374" y="1260182"/>
                    </a:lnTo>
                    <a:lnTo>
                      <a:pt x="801928" y="1260182"/>
                    </a:lnTo>
                    <a:lnTo>
                      <a:pt x="801928" y="1374736"/>
                    </a:lnTo>
                    <a:lnTo>
                      <a:pt x="687374" y="1374736"/>
                    </a:lnTo>
                    <a:lnTo>
                      <a:pt x="687374" y="1489290"/>
                    </a:lnTo>
                    <a:lnTo>
                      <a:pt x="687374" y="1603844"/>
                    </a:lnTo>
                    <a:lnTo>
                      <a:pt x="687374" y="1718424"/>
                    </a:lnTo>
                    <a:lnTo>
                      <a:pt x="687374" y="1947545"/>
                    </a:lnTo>
                    <a:lnTo>
                      <a:pt x="687374" y="2291219"/>
                    </a:lnTo>
                    <a:lnTo>
                      <a:pt x="572808" y="2291219"/>
                    </a:lnTo>
                    <a:lnTo>
                      <a:pt x="458254" y="2291219"/>
                    </a:lnTo>
                    <a:lnTo>
                      <a:pt x="343687" y="2291219"/>
                    </a:lnTo>
                    <a:lnTo>
                      <a:pt x="343687" y="1947557"/>
                    </a:lnTo>
                    <a:lnTo>
                      <a:pt x="458254" y="1947545"/>
                    </a:lnTo>
                    <a:lnTo>
                      <a:pt x="572808" y="1947557"/>
                    </a:lnTo>
                    <a:lnTo>
                      <a:pt x="687374" y="1947545"/>
                    </a:lnTo>
                    <a:lnTo>
                      <a:pt x="687374" y="1718424"/>
                    </a:lnTo>
                    <a:lnTo>
                      <a:pt x="572808" y="1718424"/>
                    </a:lnTo>
                    <a:lnTo>
                      <a:pt x="572808" y="1603844"/>
                    </a:lnTo>
                    <a:lnTo>
                      <a:pt x="687374" y="1603844"/>
                    </a:lnTo>
                    <a:lnTo>
                      <a:pt x="687374" y="1489290"/>
                    </a:lnTo>
                    <a:lnTo>
                      <a:pt x="572808" y="1489290"/>
                    </a:lnTo>
                    <a:lnTo>
                      <a:pt x="572808" y="1374736"/>
                    </a:lnTo>
                    <a:lnTo>
                      <a:pt x="458254" y="1374736"/>
                    </a:lnTo>
                    <a:lnTo>
                      <a:pt x="458254" y="1718411"/>
                    </a:lnTo>
                    <a:lnTo>
                      <a:pt x="458254" y="1832978"/>
                    </a:lnTo>
                    <a:lnTo>
                      <a:pt x="343687" y="1832978"/>
                    </a:lnTo>
                    <a:lnTo>
                      <a:pt x="343687" y="1718411"/>
                    </a:lnTo>
                    <a:lnTo>
                      <a:pt x="458254" y="1718411"/>
                    </a:lnTo>
                    <a:lnTo>
                      <a:pt x="458254" y="1374736"/>
                    </a:lnTo>
                    <a:lnTo>
                      <a:pt x="458254" y="1260170"/>
                    </a:lnTo>
                    <a:lnTo>
                      <a:pt x="343687" y="1260170"/>
                    </a:lnTo>
                    <a:lnTo>
                      <a:pt x="343687" y="1603857"/>
                    </a:lnTo>
                    <a:lnTo>
                      <a:pt x="229120" y="1603857"/>
                    </a:lnTo>
                    <a:lnTo>
                      <a:pt x="229120" y="1718424"/>
                    </a:lnTo>
                    <a:lnTo>
                      <a:pt x="114566" y="1718424"/>
                    </a:lnTo>
                    <a:lnTo>
                      <a:pt x="114566" y="1832978"/>
                    </a:lnTo>
                    <a:lnTo>
                      <a:pt x="229120" y="1832978"/>
                    </a:lnTo>
                    <a:lnTo>
                      <a:pt x="229120" y="1947545"/>
                    </a:lnTo>
                    <a:lnTo>
                      <a:pt x="114566" y="1947545"/>
                    </a:lnTo>
                    <a:lnTo>
                      <a:pt x="114566" y="2062111"/>
                    </a:lnTo>
                    <a:lnTo>
                      <a:pt x="229120" y="2062111"/>
                    </a:lnTo>
                    <a:lnTo>
                      <a:pt x="229120" y="2176665"/>
                    </a:lnTo>
                    <a:lnTo>
                      <a:pt x="114566" y="2176665"/>
                    </a:lnTo>
                    <a:lnTo>
                      <a:pt x="114566" y="2291232"/>
                    </a:lnTo>
                    <a:lnTo>
                      <a:pt x="229120" y="2291232"/>
                    </a:lnTo>
                    <a:lnTo>
                      <a:pt x="229120" y="2405786"/>
                    </a:lnTo>
                    <a:lnTo>
                      <a:pt x="343687" y="2405786"/>
                    </a:lnTo>
                    <a:lnTo>
                      <a:pt x="343687" y="2520340"/>
                    </a:lnTo>
                    <a:lnTo>
                      <a:pt x="458254" y="2520340"/>
                    </a:lnTo>
                    <a:lnTo>
                      <a:pt x="458254" y="2634907"/>
                    </a:lnTo>
                    <a:lnTo>
                      <a:pt x="572808" y="2634907"/>
                    </a:lnTo>
                    <a:lnTo>
                      <a:pt x="572808" y="2405786"/>
                    </a:lnTo>
                    <a:lnTo>
                      <a:pt x="687374" y="2405786"/>
                    </a:lnTo>
                    <a:lnTo>
                      <a:pt x="687374" y="2634907"/>
                    </a:lnTo>
                    <a:lnTo>
                      <a:pt x="687374" y="2749473"/>
                    </a:lnTo>
                    <a:lnTo>
                      <a:pt x="572808" y="2749473"/>
                    </a:lnTo>
                    <a:lnTo>
                      <a:pt x="572808" y="2864040"/>
                    </a:lnTo>
                    <a:lnTo>
                      <a:pt x="687374" y="2864040"/>
                    </a:lnTo>
                    <a:lnTo>
                      <a:pt x="801928" y="2864027"/>
                    </a:lnTo>
                    <a:lnTo>
                      <a:pt x="916495" y="2864040"/>
                    </a:lnTo>
                    <a:lnTo>
                      <a:pt x="1031049" y="2864027"/>
                    </a:lnTo>
                    <a:lnTo>
                      <a:pt x="1145616" y="2864040"/>
                    </a:lnTo>
                    <a:lnTo>
                      <a:pt x="1145616" y="2749473"/>
                    </a:lnTo>
                    <a:lnTo>
                      <a:pt x="1031062" y="2749473"/>
                    </a:lnTo>
                    <a:lnTo>
                      <a:pt x="1031062" y="2634907"/>
                    </a:lnTo>
                    <a:lnTo>
                      <a:pt x="1145616" y="2634907"/>
                    </a:lnTo>
                    <a:lnTo>
                      <a:pt x="1145616" y="2405786"/>
                    </a:lnTo>
                    <a:lnTo>
                      <a:pt x="1031062" y="2405786"/>
                    </a:lnTo>
                    <a:lnTo>
                      <a:pt x="916495" y="2405786"/>
                    </a:lnTo>
                    <a:lnTo>
                      <a:pt x="916495" y="2520340"/>
                    </a:lnTo>
                    <a:lnTo>
                      <a:pt x="916495" y="2634907"/>
                    </a:lnTo>
                    <a:lnTo>
                      <a:pt x="916495" y="2749473"/>
                    </a:lnTo>
                    <a:lnTo>
                      <a:pt x="801941" y="2749473"/>
                    </a:lnTo>
                    <a:lnTo>
                      <a:pt x="801941" y="2634907"/>
                    </a:lnTo>
                    <a:lnTo>
                      <a:pt x="801941" y="2520340"/>
                    </a:lnTo>
                    <a:lnTo>
                      <a:pt x="916495" y="2520340"/>
                    </a:lnTo>
                    <a:lnTo>
                      <a:pt x="916495" y="2405786"/>
                    </a:lnTo>
                    <a:lnTo>
                      <a:pt x="916495" y="2291219"/>
                    </a:lnTo>
                    <a:lnTo>
                      <a:pt x="801941" y="2291219"/>
                    </a:lnTo>
                    <a:lnTo>
                      <a:pt x="801941" y="1947557"/>
                    </a:lnTo>
                    <a:lnTo>
                      <a:pt x="916495" y="1947545"/>
                    </a:lnTo>
                    <a:lnTo>
                      <a:pt x="916495" y="2176665"/>
                    </a:lnTo>
                    <a:lnTo>
                      <a:pt x="1031049" y="2176665"/>
                    </a:lnTo>
                    <a:lnTo>
                      <a:pt x="1145616" y="2176665"/>
                    </a:lnTo>
                    <a:lnTo>
                      <a:pt x="1145616" y="2062099"/>
                    </a:lnTo>
                    <a:lnTo>
                      <a:pt x="1031062" y="2062099"/>
                    </a:lnTo>
                    <a:lnTo>
                      <a:pt x="1031062" y="1947545"/>
                    </a:lnTo>
                    <a:lnTo>
                      <a:pt x="1145616" y="1947545"/>
                    </a:lnTo>
                    <a:lnTo>
                      <a:pt x="1145616" y="1832978"/>
                    </a:lnTo>
                    <a:lnTo>
                      <a:pt x="1031062" y="1832978"/>
                    </a:lnTo>
                    <a:lnTo>
                      <a:pt x="916495" y="1832978"/>
                    </a:lnTo>
                    <a:lnTo>
                      <a:pt x="801941" y="1832978"/>
                    </a:lnTo>
                    <a:lnTo>
                      <a:pt x="801941" y="1374736"/>
                    </a:lnTo>
                    <a:lnTo>
                      <a:pt x="916495" y="1374736"/>
                    </a:lnTo>
                    <a:lnTo>
                      <a:pt x="916495" y="1489290"/>
                    </a:lnTo>
                    <a:lnTo>
                      <a:pt x="1031049" y="1489290"/>
                    </a:lnTo>
                    <a:lnTo>
                      <a:pt x="1145616" y="1489303"/>
                    </a:lnTo>
                    <a:lnTo>
                      <a:pt x="1145616" y="1374736"/>
                    </a:lnTo>
                    <a:close/>
                  </a:path>
                  <a:path w="1260475" h="2864485">
                    <a:moveTo>
                      <a:pt x="1260182" y="916482"/>
                    </a:moveTo>
                    <a:lnTo>
                      <a:pt x="1145616" y="916482"/>
                    </a:lnTo>
                    <a:lnTo>
                      <a:pt x="1031049" y="916482"/>
                    </a:lnTo>
                    <a:lnTo>
                      <a:pt x="1031049" y="1145603"/>
                    </a:lnTo>
                    <a:lnTo>
                      <a:pt x="1145616" y="1145603"/>
                    </a:lnTo>
                    <a:lnTo>
                      <a:pt x="1145616" y="1031062"/>
                    </a:lnTo>
                    <a:lnTo>
                      <a:pt x="1260182" y="1031062"/>
                    </a:lnTo>
                    <a:lnTo>
                      <a:pt x="1260182" y="916482"/>
                    </a:lnTo>
                    <a:close/>
                  </a:path>
                  <a:path w="1260475" h="2864485">
                    <a:moveTo>
                      <a:pt x="1260182" y="0"/>
                    </a:moveTo>
                    <a:lnTo>
                      <a:pt x="1145616" y="0"/>
                    </a:lnTo>
                    <a:lnTo>
                      <a:pt x="1145616" y="114579"/>
                    </a:lnTo>
                    <a:lnTo>
                      <a:pt x="1145616" y="687362"/>
                    </a:lnTo>
                    <a:lnTo>
                      <a:pt x="572808" y="687362"/>
                    </a:lnTo>
                    <a:lnTo>
                      <a:pt x="572808" y="114579"/>
                    </a:lnTo>
                    <a:lnTo>
                      <a:pt x="1145616" y="114579"/>
                    </a:lnTo>
                    <a:lnTo>
                      <a:pt x="1145616" y="0"/>
                    </a:lnTo>
                    <a:lnTo>
                      <a:pt x="458254" y="0"/>
                    </a:lnTo>
                    <a:lnTo>
                      <a:pt x="458254" y="687362"/>
                    </a:lnTo>
                    <a:lnTo>
                      <a:pt x="458254" y="801928"/>
                    </a:lnTo>
                    <a:lnTo>
                      <a:pt x="572808" y="801928"/>
                    </a:lnTo>
                    <a:lnTo>
                      <a:pt x="687374" y="801928"/>
                    </a:lnTo>
                    <a:lnTo>
                      <a:pt x="1260182" y="801928"/>
                    </a:lnTo>
                    <a:lnTo>
                      <a:pt x="1260182" y="687362"/>
                    </a:lnTo>
                    <a:lnTo>
                      <a:pt x="1260182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object 21"/>
              <p:cNvSpPr/>
              <p:nvPr/>
            </p:nvSpPr>
            <p:spPr>
              <a:xfrm>
                <a:off x="6654368" y="4344733"/>
                <a:ext cx="114935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114934" h="1948179">
                    <a:moveTo>
                      <a:pt x="114566" y="1832991"/>
                    </a:moveTo>
                    <a:lnTo>
                      <a:pt x="0" y="1832991"/>
                    </a:lnTo>
                    <a:lnTo>
                      <a:pt x="0" y="1947557"/>
                    </a:lnTo>
                    <a:lnTo>
                      <a:pt x="114566" y="1947557"/>
                    </a:lnTo>
                    <a:lnTo>
                      <a:pt x="114566" y="1832991"/>
                    </a:lnTo>
                    <a:close/>
                  </a:path>
                  <a:path w="114934" h="1948179">
                    <a:moveTo>
                      <a:pt x="114566" y="1374736"/>
                    </a:moveTo>
                    <a:lnTo>
                      <a:pt x="0" y="1374736"/>
                    </a:lnTo>
                    <a:lnTo>
                      <a:pt x="0" y="1603857"/>
                    </a:lnTo>
                    <a:lnTo>
                      <a:pt x="114566" y="1603857"/>
                    </a:lnTo>
                    <a:lnTo>
                      <a:pt x="114566" y="1374736"/>
                    </a:lnTo>
                    <a:close/>
                  </a:path>
                  <a:path w="114934" h="1948179">
                    <a:moveTo>
                      <a:pt x="114566" y="801941"/>
                    </a:moveTo>
                    <a:lnTo>
                      <a:pt x="0" y="801941"/>
                    </a:lnTo>
                    <a:lnTo>
                      <a:pt x="0" y="1031062"/>
                    </a:lnTo>
                    <a:lnTo>
                      <a:pt x="0" y="1260182"/>
                    </a:lnTo>
                    <a:lnTo>
                      <a:pt x="114566" y="1260182"/>
                    </a:lnTo>
                    <a:lnTo>
                      <a:pt x="114566" y="1031062"/>
                    </a:lnTo>
                    <a:lnTo>
                      <a:pt x="114566" y="801941"/>
                    </a:lnTo>
                    <a:close/>
                  </a:path>
                  <a:path w="114934" h="1948179">
                    <a:moveTo>
                      <a:pt x="114566" y="458254"/>
                    </a:moveTo>
                    <a:lnTo>
                      <a:pt x="0" y="458254"/>
                    </a:lnTo>
                    <a:lnTo>
                      <a:pt x="0" y="687374"/>
                    </a:lnTo>
                    <a:lnTo>
                      <a:pt x="114566" y="687374"/>
                    </a:lnTo>
                    <a:lnTo>
                      <a:pt x="114566" y="458254"/>
                    </a:lnTo>
                    <a:close/>
                  </a:path>
                  <a:path w="114934" h="1948179">
                    <a:moveTo>
                      <a:pt x="114566" y="0"/>
                    </a:moveTo>
                    <a:lnTo>
                      <a:pt x="0" y="0"/>
                    </a:lnTo>
                    <a:lnTo>
                      <a:pt x="0" y="114579"/>
                    </a:lnTo>
                    <a:lnTo>
                      <a:pt x="114566" y="114579"/>
                    </a:lnTo>
                    <a:lnTo>
                      <a:pt x="114566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8" name="object 22"/>
            <p:cNvSpPr/>
            <p:nvPr/>
          </p:nvSpPr>
          <p:spPr>
            <a:xfrm>
              <a:off x="3904894" y="5490349"/>
              <a:ext cx="802005" cy="802005"/>
            </a:xfrm>
            <a:custGeom>
              <a:avLst/>
              <a:gdLst/>
              <a:ahLst/>
              <a:cxnLst/>
              <a:rect l="l" t="t" r="r" b="b"/>
              <a:pathLst>
                <a:path w="802004" h="802004">
                  <a:moveTo>
                    <a:pt x="572820" y="229120"/>
                  </a:moveTo>
                  <a:lnTo>
                    <a:pt x="458254" y="229120"/>
                  </a:lnTo>
                  <a:lnTo>
                    <a:pt x="343687" y="229120"/>
                  </a:lnTo>
                  <a:lnTo>
                    <a:pt x="229120" y="229120"/>
                  </a:lnTo>
                  <a:lnTo>
                    <a:pt x="229120" y="572808"/>
                  </a:lnTo>
                  <a:lnTo>
                    <a:pt x="343687" y="572808"/>
                  </a:lnTo>
                  <a:lnTo>
                    <a:pt x="458254" y="572808"/>
                  </a:lnTo>
                  <a:lnTo>
                    <a:pt x="572820" y="572808"/>
                  </a:lnTo>
                  <a:lnTo>
                    <a:pt x="572820" y="229120"/>
                  </a:lnTo>
                  <a:close/>
                </a:path>
                <a:path w="802004" h="802004">
                  <a:moveTo>
                    <a:pt x="801941" y="0"/>
                  </a:moveTo>
                  <a:lnTo>
                    <a:pt x="687374" y="0"/>
                  </a:lnTo>
                  <a:lnTo>
                    <a:pt x="687374" y="114566"/>
                  </a:lnTo>
                  <a:lnTo>
                    <a:pt x="687374" y="229120"/>
                  </a:lnTo>
                  <a:lnTo>
                    <a:pt x="687374" y="572808"/>
                  </a:lnTo>
                  <a:lnTo>
                    <a:pt x="687374" y="687374"/>
                  </a:lnTo>
                  <a:lnTo>
                    <a:pt x="572820" y="687374"/>
                  </a:lnTo>
                  <a:lnTo>
                    <a:pt x="114566" y="687374"/>
                  </a:lnTo>
                  <a:lnTo>
                    <a:pt x="114566" y="572808"/>
                  </a:lnTo>
                  <a:lnTo>
                    <a:pt x="114566" y="229120"/>
                  </a:lnTo>
                  <a:lnTo>
                    <a:pt x="114566" y="114566"/>
                  </a:lnTo>
                  <a:lnTo>
                    <a:pt x="229120" y="114566"/>
                  </a:lnTo>
                  <a:lnTo>
                    <a:pt x="687374" y="114566"/>
                  </a:lnTo>
                  <a:lnTo>
                    <a:pt x="687374" y="0"/>
                  </a:lnTo>
                  <a:lnTo>
                    <a:pt x="0" y="0"/>
                  </a:lnTo>
                  <a:lnTo>
                    <a:pt x="0" y="229120"/>
                  </a:lnTo>
                  <a:lnTo>
                    <a:pt x="0" y="572808"/>
                  </a:lnTo>
                  <a:lnTo>
                    <a:pt x="0" y="801928"/>
                  </a:lnTo>
                  <a:lnTo>
                    <a:pt x="114566" y="801928"/>
                  </a:lnTo>
                  <a:lnTo>
                    <a:pt x="229120" y="801941"/>
                  </a:lnTo>
                  <a:lnTo>
                    <a:pt x="343687" y="801941"/>
                  </a:lnTo>
                  <a:lnTo>
                    <a:pt x="458254" y="801941"/>
                  </a:lnTo>
                  <a:lnTo>
                    <a:pt x="572808" y="801941"/>
                  </a:lnTo>
                  <a:lnTo>
                    <a:pt x="687374" y="801941"/>
                  </a:lnTo>
                  <a:lnTo>
                    <a:pt x="801941" y="801928"/>
                  </a:lnTo>
                  <a:lnTo>
                    <a:pt x="801941" y="572808"/>
                  </a:lnTo>
                  <a:lnTo>
                    <a:pt x="801941" y="229120"/>
                  </a:lnTo>
                  <a:lnTo>
                    <a:pt x="801941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object 23"/>
            <p:cNvSpPr/>
            <p:nvPr/>
          </p:nvSpPr>
          <p:spPr>
            <a:xfrm>
              <a:off x="4821389" y="6177724"/>
              <a:ext cx="114935" cy="114935"/>
            </a:xfrm>
            <a:custGeom>
              <a:avLst/>
              <a:gdLst/>
              <a:ahLst/>
              <a:cxnLst/>
              <a:rect l="l" t="t" r="r" b="b"/>
              <a:pathLst>
                <a:path w="114935" h="114935">
                  <a:moveTo>
                    <a:pt x="114566" y="0"/>
                  </a:moveTo>
                  <a:lnTo>
                    <a:pt x="0" y="0"/>
                  </a:lnTo>
                  <a:lnTo>
                    <a:pt x="0" y="114566"/>
                  </a:lnTo>
                  <a:lnTo>
                    <a:pt x="114566" y="114566"/>
                  </a:lnTo>
                  <a:lnTo>
                    <a:pt x="114566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474548" y="4906351"/>
            <a:ext cx="1440000" cy="1440000"/>
            <a:chOff x="242773" y="3337699"/>
            <a:chExt cx="3034030" cy="3034030"/>
          </a:xfrm>
        </p:grpSpPr>
        <p:sp>
          <p:nvSpPr>
            <p:cNvPr id="80" name="object 9"/>
            <p:cNvSpPr/>
            <p:nvPr/>
          </p:nvSpPr>
          <p:spPr>
            <a:xfrm>
              <a:off x="242773" y="3337699"/>
              <a:ext cx="643890" cy="643890"/>
            </a:xfrm>
            <a:custGeom>
              <a:avLst/>
              <a:gdLst/>
              <a:ahLst/>
              <a:cxnLst/>
              <a:rect l="l" t="t" r="r" b="b"/>
              <a:pathLst>
                <a:path w="643890" h="643889">
                  <a:moveTo>
                    <a:pt x="459613" y="183845"/>
                  </a:moveTo>
                  <a:lnTo>
                    <a:pt x="367690" y="183845"/>
                  </a:lnTo>
                  <a:lnTo>
                    <a:pt x="275767" y="183845"/>
                  </a:lnTo>
                  <a:lnTo>
                    <a:pt x="183845" y="183845"/>
                  </a:lnTo>
                  <a:lnTo>
                    <a:pt x="183845" y="275767"/>
                  </a:lnTo>
                  <a:lnTo>
                    <a:pt x="183845" y="459613"/>
                  </a:lnTo>
                  <a:lnTo>
                    <a:pt x="275767" y="459613"/>
                  </a:lnTo>
                  <a:lnTo>
                    <a:pt x="367690" y="459613"/>
                  </a:lnTo>
                  <a:lnTo>
                    <a:pt x="459613" y="459613"/>
                  </a:lnTo>
                  <a:lnTo>
                    <a:pt x="459613" y="275767"/>
                  </a:lnTo>
                  <a:lnTo>
                    <a:pt x="459613" y="183845"/>
                  </a:lnTo>
                  <a:close/>
                </a:path>
                <a:path w="643890" h="643889">
                  <a:moveTo>
                    <a:pt x="643458" y="0"/>
                  </a:moveTo>
                  <a:lnTo>
                    <a:pt x="551535" y="0"/>
                  </a:lnTo>
                  <a:lnTo>
                    <a:pt x="551535" y="91922"/>
                  </a:lnTo>
                  <a:lnTo>
                    <a:pt x="551535" y="275767"/>
                  </a:lnTo>
                  <a:lnTo>
                    <a:pt x="551535" y="551535"/>
                  </a:lnTo>
                  <a:lnTo>
                    <a:pt x="459613" y="551535"/>
                  </a:lnTo>
                  <a:lnTo>
                    <a:pt x="367690" y="551535"/>
                  </a:lnTo>
                  <a:lnTo>
                    <a:pt x="275767" y="551535"/>
                  </a:lnTo>
                  <a:lnTo>
                    <a:pt x="183845" y="551535"/>
                  </a:lnTo>
                  <a:lnTo>
                    <a:pt x="91922" y="551535"/>
                  </a:lnTo>
                  <a:lnTo>
                    <a:pt x="91922" y="275767"/>
                  </a:lnTo>
                  <a:lnTo>
                    <a:pt x="91922" y="91922"/>
                  </a:lnTo>
                  <a:lnTo>
                    <a:pt x="183845" y="91922"/>
                  </a:lnTo>
                  <a:lnTo>
                    <a:pt x="275767" y="91922"/>
                  </a:lnTo>
                  <a:lnTo>
                    <a:pt x="367690" y="91922"/>
                  </a:lnTo>
                  <a:lnTo>
                    <a:pt x="459613" y="91922"/>
                  </a:lnTo>
                  <a:lnTo>
                    <a:pt x="551535" y="91922"/>
                  </a:lnTo>
                  <a:lnTo>
                    <a:pt x="551535" y="0"/>
                  </a:lnTo>
                  <a:lnTo>
                    <a:pt x="0" y="0"/>
                  </a:lnTo>
                  <a:lnTo>
                    <a:pt x="0" y="275767"/>
                  </a:lnTo>
                  <a:lnTo>
                    <a:pt x="0" y="643458"/>
                  </a:lnTo>
                  <a:lnTo>
                    <a:pt x="91922" y="643458"/>
                  </a:lnTo>
                  <a:lnTo>
                    <a:pt x="183845" y="643458"/>
                  </a:lnTo>
                  <a:lnTo>
                    <a:pt x="643458" y="643458"/>
                  </a:lnTo>
                  <a:lnTo>
                    <a:pt x="643458" y="275767"/>
                  </a:lnTo>
                  <a:lnTo>
                    <a:pt x="643458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1" name="object 10"/>
            <p:cNvGrpSpPr/>
            <p:nvPr/>
          </p:nvGrpSpPr>
          <p:grpSpPr>
            <a:xfrm>
              <a:off x="242773" y="3337699"/>
              <a:ext cx="3034030" cy="3034030"/>
              <a:chOff x="242773" y="3337699"/>
              <a:chExt cx="3034030" cy="3034030"/>
            </a:xfrm>
          </p:grpSpPr>
          <p:sp>
            <p:nvSpPr>
              <p:cNvPr id="83" name="object 11"/>
              <p:cNvSpPr/>
              <p:nvPr/>
            </p:nvSpPr>
            <p:spPr>
              <a:xfrm>
                <a:off x="242773" y="3429622"/>
                <a:ext cx="1011555" cy="2941955"/>
              </a:xfrm>
              <a:custGeom>
                <a:avLst/>
                <a:gdLst/>
                <a:ahLst/>
                <a:cxnLst/>
                <a:rect l="l" t="t" r="r" b="b"/>
                <a:pathLst>
                  <a:path w="1011555" h="2941954">
                    <a:moveTo>
                      <a:pt x="91922" y="2114219"/>
                    </a:moveTo>
                    <a:lnTo>
                      <a:pt x="0" y="2114219"/>
                    </a:lnTo>
                    <a:lnTo>
                      <a:pt x="0" y="2206142"/>
                    </a:lnTo>
                    <a:lnTo>
                      <a:pt x="91922" y="2206142"/>
                    </a:lnTo>
                    <a:lnTo>
                      <a:pt x="91922" y="2114219"/>
                    </a:lnTo>
                    <a:close/>
                  </a:path>
                  <a:path w="1011555" h="2941954">
                    <a:moveTo>
                      <a:pt x="91922" y="1654606"/>
                    </a:moveTo>
                    <a:lnTo>
                      <a:pt x="0" y="1654606"/>
                    </a:lnTo>
                    <a:lnTo>
                      <a:pt x="0" y="1746529"/>
                    </a:lnTo>
                    <a:lnTo>
                      <a:pt x="91922" y="1746529"/>
                    </a:lnTo>
                    <a:lnTo>
                      <a:pt x="91922" y="1654606"/>
                    </a:lnTo>
                    <a:close/>
                  </a:path>
                  <a:path w="1011555" h="2941954">
                    <a:moveTo>
                      <a:pt x="91922" y="643458"/>
                    </a:moveTo>
                    <a:lnTo>
                      <a:pt x="0" y="643458"/>
                    </a:lnTo>
                    <a:lnTo>
                      <a:pt x="0" y="735380"/>
                    </a:lnTo>
                    <a:lnTo>
                      <a:pt x="91922" y="735380"/>
                    </a:lnTo>
                    <a:lnTo>
                      <a:pt x="91922" y="643458"/>
                    </a:lnTo>
                    <a:close/>
                  </a:path>
                  <a:path w="1011555" h="2941954">
                    <a:moveTo>
                      <a:pt x="183845" y="1746529"/>
                    </a:moveTo>
                    <a:lnTo>
                      <a:pt x="91922" y="1746529"/>
                    </a:lnTo>
                    <a:lnTo>
                      <a:pt x="91922" y="1838452"/>
                    </a:lnTo>
                    <a:lnTo>
                      <a:pt x="183845" y="1838452"/>
                    </a:lnTo>
                    <a:lnTo>
                      <a:pt x="183845" y="1746529"/>
                    </a:lnTo>
                    <a:close/>
                  </a:path>
                  <a:path w="1011555" h="2941954">
                    <a:moveTo>
                      <a:pt x="459613" y="2114219"/>
                    </a:moveTo>
                    <a:lnTo>
                      <a:pt x="367690" y="2114219"/>
                    </a:lnTo>
                    <a:lnTo>
                      <a:pt x="367690" y="2022297"/>
                    </a:lnTo>
                    <a:lnTo>
                      <a:pt x="275767" y="2022297"/>
                    </a:lnTo>
                    <a:lnTo>
                      <a:pt x="183845" y="2022297"/>
                    </a:lnTo>
                    <a:lnTo>
                      <a:pt x="183845" y="1930374"/>
                    </a:lnTo>
                    <a:lnTo>
                      <a:pt x="91922" y="1930374"/>
                    </a:lnTo>
                    <a:lnTo>
                      <a:pt x="0" y="1930374"/>
                    </a:lnTo>
                    <a:lnTo>
                      <a:pt x="0" y="2022297"/>
                    </a:lnTo>
                    <a:lnTo>
                      <a:pt x="91922" y="2022297"/>
                    </a:lnTo>
                    <a:lnTo>
                      <a:pt x="91922" y="2114219"/>
                    </a:lnTo>
                    <a:lnTo>
                      <a:pt x="183845" y="2114219"/>
                    </a:lnTo>
                    <a:lnTo>
                      <a:pt x="275767" y="2114219"/>
                    </a:lnTo>
                    <a:lnTo>
                      <a:pt x="275767" y="2206142"/>
                    </a:lnTo>
                    <a:lnTo>
                      <a:pt x="367690" y="2206142"/>
                    </a:lnTo>
                    <a:lnTo>
                      <a:pt x="459613" y="2206142"/>
                    </a:lnTo>
                    <a:lnTo>
                      <a:pt x="459613" y="2114219"/>
                    </a:lnTo>
                    <a:close/>
                  </a:path>
                  <a:path w="1011555" h="2941954">
                    <a:moveTo>
                      <a:pt x="459613" y="1286916"/>
                    </a:moveTo>
                    <a:lnTo>
                      <a:pt x="367690" y="1286916"/>
                    </a:lnTo>
                    <a:lnTo>
                      <a:pt x="367690" y="1378839"/>
                    </a:lnTo>
                    <a:lnTo>
                      <a:pt x="459613" y="1378839"/>
                    </a:lnTo>
                    <a:lnTo>
                      <a:pt x="459613" y="1286916"/>
                    </a:lnTo>
                    <a:close/>
                  </a:path>
                  <a:path w="1011555" h="2941954">
                    <a:moveTo>
                      <a:pt x="459613" y="1103071"/>
                    </a:moveTo>
                    <a:lnTo>
                      <a:pt x="367690" y="1103071"/>
                    </a:lnTo>
                    <a:lnTo>
                      <a:pt x="275767" y="1103071"/>
                    </a:lnTo>
                    <a:lnTo>
                      <a:pt x="275767" y="919226"/>
                    </a:lnTo>
                    <a:lnTo>
                      <a:pt x="183845" y="919226"/>
                    </a:lnTo>
                    <a:lnTo>
                      <a:pt x="183845" y="735380"/>
                    </a:lnTo>
                    <a:lnTo>
                      <a:pt x="91922" y="735380"/>
                    </a:lnTo>
                    <a:lnTo>
                      <a:pt x="91922" y="827316"/>
                    </a:lnTo>
                    <a:lnTo>
                      <a:pt x="0" y="827316"/>
                    </a:lnTo>
                    <a:lnTo>
                      <a:pt x="0" y="919238"/>
                    </a:lnTo>
                    <a:lnTo>
                      <a:pt x="91922" y="919238"/>
                    </a:lnTo>
                    <a:lnTo>
                      <a:pt x="183845" y="919238"/>
                    </a:lnTo>
                    <a:lnTo>
                      <a:pt x="183845" y="1011148"/>
                    </a:lnTo>
                    <a:lnTo>
                      <a:pt x="91922" y="1011148"/>
                    </a:lnTo>
                    <a:lnTo>
                      <a:pt x="0" y="1011148"/>
                    </a:lnTo>
                    <a:lnTo>
                      <a:pt x="0" y="1103071"/>
                    </a:lnTo>
                    <a:lnTo>
                      <a:pt x="91922" y="1103071"/>
                    </a:lnTo>
                    <a:lnTo>
                      <a:pt x="91922" y="1286916"/>
                    </a:lnTo>
                    <a:lnTo>
                      <a:pt x="0" y="1286916"/>
                    </a:lnTo>
                    <a:lnTo>
                      <a:pt x="0" y="1378839"/>
                    </a:lnTo>
                    <a:lnTo>
                      <a:pt x="91922" y="1378839"/>
                    </a:lnTo>
                    <a:lnTo>
                      <a:pt x="183845" y="1378839"/>
                    </a:lnTo>
                    <a:lnTo>
                      <a:pt x="183845" y="1470761"/>
                    </a:lnTo>
                    <a:lnTo>
                      <a:pt x="91922" y="1470761"/>
                    </a:lnTo>
                    <a:lnTo>
                      <a:pt x="91922" y="1562684"/>
                    </a:lnTo>
                    <a:lnTo>
                      <a:pt x="183845" y="1562684"/>
                    </a:lnTo>
                    <a:lnTo>
                      <a:pt x="183845" y="1746529"/>
                    </a:lnTo>
                    <a:lnTo>
                      <a:pt x="275767" y="1746529"/>
                    </a:lnTo>
                    <a:lnTo>
                      <a:pt x="275767" y="1562684"/>
                    </a:lnTo>
                    <a:lnTo>
                      <a:pt x="367690" y="1562684"/>
                    </a:lnTo>
                    <a:lnTo>
                      <a:pt x="459613" y="1562684"/>
                    </a:lnTo>
                    <a:lnTo>
                      <a:pt x="459613" y="1470761"/>
                    </a:lnTo>
                    <a:lnTo>
                      <a:pt x="367690" y="1470761"/>
                    </a:lnTo>
                    <a:lnTo>
                      <a:pt x="275767" y="1470761"/>
                    </a:lnTo>
                    <a:lnTo>
                      <a:pt x="275767" y="1286916"/>
                    </a:lnTo>
                    <a:lnTo>
                      <a:pt x="183845" y="1286916"/>
                    </a:lnTo>
                    <a:lnTo>
                      <a:pt x="183845" y="1194993"/>
                    </a:lnTo>
                    <a:lnTo>
                      <a:pt x="275767" y="1194993"/>
                    </a:lnTo>
                    <a:lnTo>
                      <a:pt x="367690" y="1194993"/>
                    </a:lnTo>
                    <a:lnTo>
                      <a:pt x="459613" y="1194993"/>
                    </a:lnTo>
                    <a:lnTo>
                      <a:pt x="459613" y="1103071"/>
                    </a:lnTo>
                    <a:close/>
                  </a:path>
                  <a:path w="1011555" h="2941954">
                    <a:moveTo>
                      <a:pt x="459613" y="735380"/>
                    </a:moveTo>
                    <a:lnTo>
                      <a:pt x="367690" y="735380"/>
                    </a:lnTo>
                    <a:lnTo>
                      <a:pt x="367690" y="643458"/>
                    </a:lnTo>
                    <a:lnTo>
                      <a:pt x="275767" y="643458"/>
                    </a:lnTo>
                    <a:lnTo>
                      <a:pt x="275767" y="827316"/>
                    </a:lnTo>
                    <a:lnTo>
                      <a:pt x="367690" y="827316"/>
                    </a:lnTo>
                    <a:lnTo>
                      <a:pt x="459613" y="827316"/>
                    </a:lnTo>
                    <a:lnTo>
                      <a:pt x="459613" y="735380"/>
                    </a:lnTo>
                    <a:close/>
                  </a:path>
                  <a:path w="1011555" h="2941954">
                    <a:moveTo>
                      <a:pt x="643458" y="1194993"/>
                    </a:moveTo>
                    <a:lnTo>
                      <a:pt x="551535" y="1194993"/>
                    </a:lnTo>
                    <a:lnTo>
                      <a:pt x="551535" y="1286916"/>
                    </a:lnTo>
                    <a:lnTo>
                      <a:pt x="643458" y="1286916"/>
                    </a:lnTo>
                    <a:lnTo>
                      <a:pt x="643458" y="1194993"/>
                    </a:lnTo>
                    <a:close/>
                  </a:path>
                  <a:path w="1011555" h="2941954">
                    <a:moveTo>
                      <a:pt x="643458" y="827316"/>
                    </a:moveTo>
                    <a:lnTo>
                      <a:pt x="551535" y="827316"/>
                    </a:lnTo>
                    <a:lnTo>
                      <a:pt x="551535" y="919226"/>
                    </a:lnTo>
                    <a:lnTo>
                      <a:pt x="459613" y="919226"/>
                    </a:lnTo>
                    <a:lnTo>
                      <a:pt x="367690" y="919226"/>
                    </a:lnTo>
                    <a:lnTo>
                      <a:pt x="367690" y="1011148"/>
                    </a:lnTo>
                    <a:lnTo>
                      <a:pt x="459613" y="1011148"/>
                    </a:lnTo>
                    <a:lnTo>
                      <a:pt x="459613" y="1103071"/>
                    </a:lnTo>
                    <a:lnTo>
                      <a:pt x="551535" y="1103071"/>
                    </a:lnTo>
                    <a:lnTo>
                      <a:pt x="643458" y="1103071"/>
                    </a:lnTo>
                    <a:lnTo>
                      <a:pt x="643458" y="1011148"/>
                    </a:lnTo>
                    <a:lnTo>
                      <a:pt x="551535" y="1011148"/>
                    </a:lnTo>
                    <a:lnTo>
                      <a:pt x="551535" y="919238"/>
                    </a:lnTo>
                    <a:lnTo>
                      <a:pt x="643458" y="919238"/>
                    </a:lnTo>
                    <a:lnTo>
                      <a:pt x="643458" y="827316"/>
                    </a:lnTo>
                    <a:close/>
                  </a:path>
                  <a:path w="1011555" h="2941954">
                    <a:moveTo>
                      <a:pt x="643458" y="643458"/>
                    </a:moveTo>
                    <a:lnTo>
                      <a:pt x="551535" y="643458"/>
                    </a:lnTo>
                    <a:lnTo>
                      <a:pt x="459613" y="643458"/>
                    </a:lnTo>
                    <a:lnTo>
                      <a:pt x="459613" y="735380"/>
                    </a:lnTo>
                    <a:lnTo>
                      <a:pt x="551535" y="735380"/>
                    </a:lnTo>
                    <a:lnTo>
                      <a:pt x="643458" y="735380"/>
                    </a:lnTo>
                    <a:lnTo>
                      <a:pt x="643458" y="643458"/>
                    </a:lnTo>
                    <a:close/>
                  </a:path>
                  <a:path w="1011555" h="2941954">
                    <a:moveTo>
                      <a:pt x="735380" y="1562684"/>
                    </a:moveTo>
                    <a:lnTo>
                      <a:pt x="643458" y="1562684"/>
                    </a:lnTo>
                    <a:lnTo>
                      <a:pt x="551535" y="1562684"/>
                    </a:lnTo>
                    <a:lnTo>
                      <a:pt x="459613" y="1562684"/>
                    </a:lnTo>
                    <a:lnTo>
                      <a:pt x="459613" y="1654606"/>
                    </a:lnTo>
                    <a:lnTo>
                      <a:pt x="551535" y="1654606"/>
                    </a:lnTo>
                    <a:lnTo>
                      <a:pt x="643458" y="1654606"/>
                    </a:lnTo>
                    <a:lnTo>
                      <a:pt x="735380" y="1654606"/>
                    </a:lnTo>
                    <a:lnTo>
                      <a:pt x="735380" y="1562684"/>
                    </a:lnTo>
                    <a:close/>
                  </a:path>
                  <a:path w="1011555" h="2941954">
                    <a:moveTo>
                      <a:pt x="735380" y="1378839"/>
                    </a:moveTo>
                    <a:lnTo>
                      <a:pt x="643458" y="1378839"/>
                    </a:lnTo>
                    <a:lnTo>
                      <a:pt x="551535" y="1378839"/>
                    </a:lnTo>
                    <a:lnTo>
                      <a:pt x="459613" y="1378839"/>
                    </a:lnTo>
                    <a:lnTo>
                      <a:pt x="459613" y="1470761"/>
                    </a:lnTo>
                    <a:lnTo>
                      <a:pt x="551535" y="1470761"/>
                    </a:lnTo>
                    <a:lnTo>
                      <a:pt x="643458" y="1470761"/>
                    </a:lnTo>
                    <a:lnTo>
                      <a:pt x="735380" y="1470761"/>
                    </a:lnTo>
                    <a:lnTo>
                      <a:pt x="735380" y="1378839"/>
                    </a:lnTo>
                    <a:close/>
                  </a:path>
                  <a:path w="1011555" h="2941954">
                    <a:moveTo>
                      <a:pt x="735380" y="1103071"/>
                    </a:moveTo>
                    <a:lnTo>
                      <a:pt x="643458" y="1103071"/>
                    </a:lnTo>
                    <a:lnTo>
                      <a:pt x="643458" y="1194993"/>
                    </a:lnTo>
                    <a:lnTo>
                      <a:pt x="735380" y="1194993"/>
                    </a:lnTo>
                    <a:lnTo>
                      <a:pt x="735380" y="1103071"/>
                    </a:lnTo>
                    <a:close/>
                  </a:path>
                  <a:path w="1011555" h="2941954">
                    <a:moveTo>
                      <a:pt x="827303" y="2389987"/>
                    </a:moveTo>
                    <a:lnTo>
                      <a:pt x="735380" y="2389987"/>
                    </a:lnTo>
                    <a:lnTo>
                      <a:pt x="735380" y="2481923"/>
                    </a:lnTo>
                    <a:lnTo>
                      <a:pt x="827303" y="2481923"/>
                    </a:lnTo>
                    <a:lnTo>
                      <a:pt x="827303" y="2389987"/>
                    </a:lnTo>
                    <a:close/>
                  </a:path>
                  <a:path w="1011555" h="2941954">
                    <a:moveTo>
                      <a:pt x="827303" y="2206142"/>
                    </a:moveTo>
                    <a:lnTo>
                      <a:pt x="735380" y="2206142"/>
                    </a:lnTo>
                    <a:lnTo>
                      <a:pt x="735380" y="2298065"/>
                    </a:lnTo>
                    <a:lnTo>
                      <a:pt x="827303" y="2298065"/>
                    </a:lnTo>
                    <a:lnTo>
                      <a:pt x="827303" y="2206142"/>
                    </a:lnTo>
                    <a:close/>
                  </a:path>
                  <a:path w="1011555" h="2941954">
                    <a:moveTo>
                      <a:pt x="919226" y="2481923"/>
                    </a:moveTo>
                    <a:lnTo>
                      <a:pt x="827303" y="2481923"/>
                    </a:lnTo>
                    <a:lnTo>
                      <a:pt x="827303" y="2573832"/>
                    </a:lnTo>
                    <a:lnTo>
                      <a:pt x="735380" y="2573832"/>
                    </a:lnTo>
                    <a:lnTo>
                      <a:pt x="735380" y="2665755"/>
                    </a:lnTo>
                    <a:lnTo>
                      <a:pt x="827303" y="2665755"/>
                    </a:lnTo>
                    <a:lnTo>
                      <a:pt x="827303" y="2757678"/>
                    </a:lnTo>
                    <a:lnTo>
                      <a:pt x="827303" y="2849613"/>
                    </a:lnTo>
                    <a:lnTo>
                      <a:pt x="735380" y="2849613"/>
                    </a:lnTo>
                    <a:lnTo>
                      <a:pt x="735380" y="2941536"/>
                    </a:lnTo>
                    <a:lnTo>
                      <a:pt x="827303" y="2941536"/>
                    </a:lnTo>
                    <a:lnTo>
                      <a:pt x="919226" y="2941523"/>
                    </a:lnTo>
                    <a:lnTo>
                      <a:pt x="919226" y="2757690"/>
                    </a:lnTo>
                    <a:lnTo>
                      <a:pt x="919226" y="2481923"/>
                    </a:lnTo>
                    <a:close/>
                  </a:path>
                  <a:path w="1011555" h="2941954">
                    <a:moveTo>
                      <a:pt x="919226" y="2298065"/>
                    </a:moveTo>
                    <a:lnTo>
                      <a:pt x="827303" y="2298065"/>
                    </a:lnTo>
                    <a:lnTo>
                      <a:pt x="827303" y="2389987"/>
                    </a:lnTo>
                    <a:lnTo>
                      <a:pt x="919226" y="2389987"/>
                    </a:lnTo>
                    <a:lnTo>
                      <a:pt x="919226" y="2298065"/>
                    </a:lnTo>
                    <a:close/>
                  </a:path>
                  <a:path w="1011555" h="2941954">
                    <a:moveTo>
                      <a:pt x="919226" y="2022297"/>
                    </a:moveTo>
                    <a:lnTo>
                      <a:pt x="827303" y="2022297"/>
                    </a:lnTo>
                    <a:lnTo>
                      <a:pt x="827303" y="1930374"/>
                    </a:lnTo>
                    <a:lnTo>
                      <a:pt x="735380" y="1930374"/>
                    </a:lnTo>
                    <a:lnTo>
                      <a:pt x="735380" y="1746529"/>
                    </a:lnTo>
                    <a:lnTo>
                      <a:pt x="643458" y="1746529"/>
                    </a:lnTo>
                    <a:lnTo>
                      <a:pt x="643458" y="1838452"/>
                    </a:lnTo>
                    <a:lnTo>
                      <a:pt x="643458" y="1930374"/>
                    </a:lnTo>
                    <a:lnTo>
                      <a:pt x="551535" y="1930374"/>
                    </a:lnTo>
                    <a:lnTo>
                      <a:pt x="551535" y="1838452"/>
                    </a:lnTo>
                    <a:lnTo>
                      <a:pt x="643458" y="1838452"/>
                    </a:lnTo>
                    <a:lnTo>
                      <a:pt x="643458" y="1746529"/>
                    </a:lnTo>
                    <a:lnTo>
                      <a:pt x="551535" y="1746529"/>
                    </a:lnTo>
                    <a:lnTo>
                      <a:pt x="459613" y="1746529"/>
                    </a:lnTo>
                    <a:lnTo>
                      <a:pt x="459613" y="1838452"/>
                    </a:lnTo>
                    <a:lnTo>
                      <a:pt x="367690" y="1838452"/>
                    </a:lnTo>
                    <a:lnTo>
                      <a:pt x="275767" y="1838452"/>
                    </a:lnTo>
                    <a:lnTo>
                      <a:pt x="275767" y="1930374"/>
                    </a:lnTo>
                    <a:lnTo>
                      <a:pt x="367690" y="1930374"/>
                    </a:lnTo>
                    <a:lnTo>
                      <a:pt x="367690" y="2022297"/>
                    </a:lnTo>
                    <a:lnTo>
                      <a:pt x="459613" y="2022297"/>
                    </a:lnTo>
                    <a:lnTo>
                      <a:pt x="551535" y="2022297"/>
                    </a:lnTo>
                    <a:lnTo>
                      <a:pt x="643458" y="2022297"/>
                    </a:lnTo>
                    <a:lnTo>
                      <a:pt x="643458" y="2114219"/>
                    </a:lnTo>
                    <a:lnTo>
                      <a:pt x="551535" y="2114219"/>
                    </a:lnTo>
                    <a:lnTo>
                      <a:pt x="551535" y="2206142"/>
                    </a:lnTo>
                    <a:lnTo>
                      <a:pt x="643458" y="2206142"/>
                    </a:lnTo>
                    <a:lnTo>
                      <a:pt x="735380" y="2206142"/>
                    </a:lnTo>
                    <a:lnTo>
                      <a:pt x="735380" y="2114219"/>
                    </a:lnTo>
                    <a:lnTo>
                      <a:pt x="827303" y="2114219"/>
                    </a:lnTo>
                    <a:lnTo>
                      <a:pt x="919226" y="2114219"/>
                    </a:lnTo>
                    <a:lnTo>
                      <a:pt x="919226" y="2022297"/>
                    </a:lnTo>
                    <a:close/>
                  </a:path>
                  <a:path w="1011555" h="2941954">
                    <a:moveTo>
                      <a:pt x="919226" y="1838452"/>
                    </a:moveTo>
                    <a:lnTo>
                      <a:pt x="827303" y="1838452"/>
                    </a:lnTo>
                    <a:lnTo>
                      <a:pt x="827303" y="1930374"/>
                    </a:lnTo>
                    <a:lnTo>
                      <a:pt x="919226" y="1930374"/>
                    </a:lnTo>
                    <a:lnTo>
                      <a:pt x="919226" y="1838452"/>
                    </a:lnTo>
                    <a:close/>
                  </a:path>
                  <a:path w="1011555" h="2941954">
                    <a:moveTo>
                      <a:pt x="919226" y="1562684"/>
                    </a:moveTo>
                    <a:lnTo>
                      <a:pt x="827303" y="1562684"/>
                    </a:lnTo>
                    <a:lnTo>
                      <a:pt x="827303" y="1654606"/>
                    </a:lnTo>
                    <a:lnTo>
                      <a:pt x="919226" y="1654606"/>
                    </a:lnTo>
                    <a:lnTo>
                      <a:pt x="919226" y="1562684"/>
                    </a:lnTo>
                    <a:close/>
                  </a:path>
                  <a:path w="1011555" h="2941954">
                    <a:moveTo>
                      <a:pt x="919226" y="1286916"/>
                    </a:moveTo>
                    <a:lnTo>
                      <a:pt x="827303" y="1286916"/>
                    </a:lnTo>
                    <a:lnTo>
                      <a:pt x="827303" y="1378839"/>
                    </a:lnTo>
                    <a:lnTo>
                      <a:pt x="919226" y="1378839"/>
                    </a:lnTo>
                    <a:lnTo>
                      <a:pt x="919226" y="1286916"/>
                    </a:lnTo>
                    <a:close/>
                  </a:path>
                  <a:path w="1011555" h="2941954">
                    <a:moveTo>
                      <a:pt x="919226" y="1103071"/>
                    </a:moveTo>
                    <a:lnTo>
                      <a:pt x="827303" y="1103071"/>
                    </a:lnTo>
                    <a:lnTo>
                      <a:pt x="827303" y="1194993"/>
                    </a:lnTo>
                    <a:lnTo>
                      <a:pt x="919226" y="1194993"/>
                    </a:lnTo>
                    <a:lnTo>
                      <a:pt x="919226" y="1103071"/>
                    </a:lnTo>
                    <a:close/>
                  </a:path>
                  <a:path w="1011555" h="2941954">
                    <a:moveTo>
                      <a:pt x="919226" y="827316"/>
                    </a:moveTo>
                    <a:lnTo>
                      <a:pt x="827303" y="827316"/>
                    </a:lnTo>
                    <a:lnTo>
                      <a:pt x="827303" y="1011148"/>
                    </a:lnTo>
                    <a:lnTo>
                      <a:pt x="735380" y="1011148"/>
                    </a:lnTo>
                    <a:lnTo>
                      <a:pt x="735380" y="1103071"/>
                    </a:lnTo>
                    <a:lnTo>
                      <a:pt x="827303" y="1103071"/>
                    </a:lnTo>
                    <a:lnTo>
                      <a:pt x="827303" y="1011161"/>
                    </a:lnTo>
                    <a:lnTo>
                      <a:pt x="919226" y="1011161"/>
                    </a:lnTo>
                    <a:lnTo>
                      <a:pt x="919226" y="827316"/>
                    </a:lnTo>
                    <a:close/>
                  </a:path>
                  <a:path w="1011555" h="2941954">
                    <a:moveTo>
                      <a:pt x="919226" y="551535"/>
                    </a:moveTo>
                    <a:lnTo>
                      <a:pt x="827303" y="551535"/>
                    </a:lnTo>
                    <a:lnTo>
                      <a:pt x="827303" y="643458"/>
                    </a:lnTo>
                    <a:lnTo>
                      <a:pt x="735380" y="643458"/>
                    </a:lnTo>
                    <a:lnTo>
                      <a:pt x="735380" y="827316"/>
                    </a:lnTo>
                    <a:lnTo>
                      <a:pt x="827303" y="827316"/>
                    </a:lnTo>
                    <a:lnTo>
                      <a:pt x="827303" y="735380"/>
                    </a:lnTo>
                    <a:lnTo>
                      <a:pt x="919226" y="735380"/>
                    </a:lnTo>
                    <a:lnTo>
                      <a:pt x="919226" y="551535"/>
                    </a:lnTo>
                    <a:close/>
                  </a:path>
                  <a:path w="1011555" h="2941954">
                    <a:moveTo>
                      <a:pt x="1011148" y="0"/>
                    </a:moveTo>
                    <a:lnTo>
                      <a:pt x="919226" y="0"/>
                    </a:lnTo>
                    <a:lnTo>
                      <a:pt x="827303" y="0"/>
                    </a:lnTo>
                    <a:lnTo>
                      <a:pt x="827303" y="91922"/>
                    </a:lnTo>
                    <a:lnTo>
                      <a:pt x="919226" y="91922"/>
                    </a:lnTo>
                    <a:lnTo>
                      <a:pt x="919226" y="183845"/>
                    </a:lnTo>
                    <a:lnTo>
                      <a:pt x="827303" y="183845"/>
                    </a:lnTo>
                    <a:lnTo>
                      <a:pt x="827303" y="275767"/>
                    </a:lnTo>
                    <a:lnTo>
                      <a:pt x="919226" y="275767"/>
                    </a:lnTo>
                    <a:lnTo>
                      <a:pt x="919226" y="367690"/>
                    </a:lnTo>
                    <a:lnTo>
                      <a:pt x="827303" y="367690"/>
                    </a:lnTo>
                    <a:lnTo>
                      <a:pt x="735380" y="367690"/>
                    </a:lnTo>
                    <a:lnTo>
                      <a:pt x="735380" y="551535"/>
                    </a:lnTo>
                    <a:lnTo>
                      <a:pt x="827303" y="551535"/>
                    </a:lnTo>
                    <a:lnTo>
                      <a:pt x="827303" y="459613"/>
                    </a:lnTo>
                    <a:lnTo>
                      <a:pt x="919226" y="459613"/>
                    </a:lnTo>
                    <a:lnTo>
                      <a:pt x="919226" y="551535"/>
                    </a:lnTo>
                    <a:lnTo>
                      <a:pt x="1011148" y="551535"/>
                    </a:lnTo>
                    <a:lnTo>
                      <a:pt x="1011148" y="183845"/>
                    </a:lnTo>
                    <a:lnTo>
                      <a:pt x="1011148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bject 12"/>
              <p:cNvSpPr/>
              <p:nvPr/>
            </p:nvSpPr>
            <p:spPr>
              <a:xfrm>
                <a:off x="1161999" y="3337699"/>
                <a:ext cx="735965" cy="3034030"/>
              </a:xfrm>
              <a:custGeom>
                <a:avLst/>
                <a:gdLst/>
                <a:ahLst/>
                <a:cxnLst/>
                <a:rect l="l" t="t" r="r" b="b"/>
                <a:pathLst>
                  <a:path w="735964" h="3034029">
                    <a:moveTo>
                      <a:pt x="91922" y="2022297"/>
                    </a:moveTo>
                    <a:lnTo>
                      <a:pt x="0" y="2022297"/>
                    </a:lnTo>
                    <a:lnTo>
                      <a:pt x="0" y="2114219"/>
                    </a:lnTo>
                    <a:lnTo>
                      <a:pt x="91922" y="2114219"/>
                    </a:lnTo>
                    <a:lnTo>
                      <a:pt x="91922" y="2022297"/>
                    </a:lnTo>
                    <a:close/>
                  </a:path>
                  <a:path w="735964" h="3034029">
                    <a:moveTo>
                      <a:pt x="91922" y="919238"/>
                    </a:moveTo>
                    <a:lnTo>
                      <a:pt x="0" y="919238"/>
                    </a:lnTo>
                    <a:lnTo>
                      <a:pt x="0" y="1011161"/>
                    </a:lnTo>
                    <a:lnTo>
                      <a:pt x="91922" y="1011161"/>
                    </a:lnTo>
                    <a:lnTo>
                      <a:pt x="91922" y="919238"/>
                    </a:lnTo>
                    <a:close/>
                  </a:path>
                  <a:path w="735964" h="3034029">
                    <a:moveTo>
                      <a:pt x="91922" y="735380"/>
                    </a:moveTo>
                    <a:lnTo>
                      <a:pt x="0" y="735380"/>
                    </a:lnTo>
                    <a:lnTo>
                      <a:pt x="0" y="827303"/>
                    </a:lnTo>
                    <a:lnTo>
                      <a:pt x="91922" y="827303"/>
                    </a:lnTo>
                    <a:lnTo>
                      <a:pt x="91922" y="735380"/>
                    </a:lnTo>
                    <a:close/>
                  </a:path>
                  <a:path w="735964" h="3034029">
                    <a:moveTo>
                      <a:pt x="91922" y="275767"/>
                    </a:moveTo>
                    <a:lnTo>
                      <a:pt x="0" y="275767"/>
                    </a:lnTo>
                    <a:lnTo>
                      <a:pt x="0" y="643458"/>
                    </a:lnTo>
                    <a:lnTo>
                      <a:pt x="91922" y="643458"/>
                    </a:lnTo>
                    <a:lnTo>
                      <a:pt x="91922" y="275767"/>
                    </a:lnTo>
                    <a:close/>
                  </a:path>
                  <a:path w="735964" h="3034029">
                    <a:moveTo>
                      <a:pt x="183845" y="2665755"/>
                    </a:moveTo>
                    <a:lnTo>
                      <a:pt x="91922" y="2665755"/>
                    </a:lnTo>
                    <a:lnTo>
                      <a:pt x="91922" y="2757678"/>
                    </a:lnTo>
                    <a:lnTo>
                      <a:pt x="183845" y="2757678"/>
                    </a:lnTo>
                    <a:lnTo>
                      <a:pt x="183845" y="2665755"/>
                    </a:lnTo>
                    <a:close/>
                  </a:path>
                  <a:path w="735964" h="3034029">
                    <a:moveTo>
                      <a:pt x="183845" y="2114219"/>
                    </a:moveTo>
                    <a:lnTo>
                      <a:pt x="91922" y="2114219"/>
                    </a:lnTo>
                    <a:lnTo>
                      <a:pt x="91922" y="2206142"/>
                    </a:lnTo>
                    <a:lnTo>
                      <a:pt x="183845" y="2206142"/>
                    </a:lnTo>
                    <a:lnTo>
                      <a:pt x="183845" y="2114219"/>
                    </a:lnTo>
                    <a:close/>
                  </a:path>
                  <a:path w="735964" h="3034029">
                    <a:moveTo>
                      <a:pt x="183845" y="1103071"/>
                    </a:moveTo>
                    <a:lnTo>
                      <a:pt x="91922" y="1103071"/>
                    </a:lnTo>
                    <a:lnTo>
                      <a:pt x="91922" y="1194993"/>
                    </a:lnTo>
                    <a:lnTo>
                      <a:pt x="183845" y="1194993"/>
                    </a:lnTo>
                    <a:lnTo>
                      <a:pt x="183845" y="1103071"/>
                    </a:lnTo>
                    <a:close/>
                  </a:path>
                  <a:path w="735964" h="3034029">
                    <a:moveTo>
                      <a:pt x="275767" y="2389987"/>
                    </a:moveTo>
                    <a:lnTo>
                      <a:pt x="183845" y="2389987"/>
                    </a:lnTo>
                    <a:lnTo>
                      <a:pt x="183845" y="2481910"/>
                    </a:lnTo>
                    <a:lnTo>
                      <a:pt x="91922" y="2481910"/>
                    </a:lnTo>
                    <a:lnTo>
                      <a:pt x="91922" y="2389987"/>
                    </a:lnTo>
                    <a:lnTo>
                      <a:pt x="91922" y="2298065"/>
                    </a:lnTo>
                    <a:lnTo>
                      <a:pt x="0" y="2298065"/>
                    </a:lnTo>
                    <a:lnTo>
                      <a:pt x="0" y="2389987"/>
                    </a:lnTo>
                    <a:lnTo>
                      <a:pt x="0" y="2573845"/>
                    </a:lnTo>
                    <a:lnTo>
                      <a:pt x="91922" y="2573845"/>
                    </a:lnTo>
                    <a:lnTo>
                      <a:pt x="183845" y="2573845"/>
                    </a:lnTo>
                    <a:lnTo>
                      <a:pt x="275767" y="2573845"/>
                    </a:lnTo>
                    <a:lnTo>
                      <a:pt x="275767" y="2389987"/>
                    </a:lnTo>
                    <a:close/>
                  </a:path>
                  <a:path w="735964" h="3034029">
                    <a:moveTo>
                      <a:pt x="275767" y="551535"/>
                    </a:moveTo>
                    <a:lnTo>
                      <a:pt x="183845" y="551535"/>
                    </a:lnTo>
                    <a:lnTo>
                      <a:pt x="183845" y="643458"/>
                    </a:lnTo>
                    <a:lnTo>
                      <a:pt x="275767" y="643458"/>
                    </a:lnTo>
                    <a:lnTo>
                      <a:pt x="275767" y="551535"/>
                    </a:lnTo>
                    <a:close/>
                  </a:path>
                  <a:path w="735964" h="3034029">
                    <a:moveTo>
                      <a:pt x="459613" y="2389987"/>
                    </a:moveTo>
                    <a:lnTo>
                      <a:pt x="367690" y="2389987"/>
                    </a:lnTo>
                    <a:lnTo>
                      <a:pt x="367690" y="2481910"/>
                    </a:lnTo>
                    <a:lnTo>
                      <a:pt x="459613" y="2481910"/>
                    </a:lnTo>
                    <a:lnTo>
                      <a:pt x="459613" y="2389987"/>
                    </a:lnTo>
                    <a:close/>
                  </a:path>
                  <a:path w="735964" h="3034029">
                    <a:moveTo>
                      <a:pt x="459613" y="2206142"/>
                    </a:moveTo>
                    <a:lnTo>
                      <a:pt x="367690" y="2206142"/>
                    </a:lnTo>
                    <a:lnTo>
                      <a:pt x="367690" y="2298065"/>
                    </a:lnTo>
                    <a:lnTo>
                      <a:pt x="459613" y="2298065"/>
                    </a:lnTo>
                    <a:lnTo>
                      <a:pt x="459613" y="2206142"/>
                    </a:lnTo>
                    <a:close/>
                  </a:path>
                  <a:path w="735964" h="3034029">
                    <a:moveTo>
                      <a:pt x="551535" y="2114219"/>
                    </a:moveTo>
                    <a:lnTo>
                      <a:pt x="459613" y="2114219"/>
                    </a:lnTo>
                    <a:lnTo>
                      <a:pt x="459613" y="2206142"/>
                    </a:lnTo>
                    <a:lnTo>
                      <a:pt x="551535" y="2206142"/>
                    </a:lnTo>
                    <a:lnTo>
                      <a:pt x="551535" y="2114219"/>
                    </a:lnTo>
                    <a:close/>
                  </a:path>
                  <a:path w="735964" h="3034029">
                    <a:moveTo>
                      <a:pt x="551535" y="1930374"/>
                    </a:moveTo>
                    <a:lnTo>
                      <a:pt x="459613" y="1930374"/>
                    </a:lnTo>
                    <a:lnTo>
                      <a:pt x="367690" y="1930374"/>
                    </a:lnTo>
                    <a:lnTo>
                      <a:pt x="367690" y="2022297"/>
                    </a:lnTo>
                    <a:lnTo>
                      <a:pt x="275767" y="2022297"/>
                    </a:lnTo>
                    <a:lnTo>
                      <a:pt x="275767" y="1930374"/>
                    </a:lnTo>
                    <a:lnTo>
                      <a:pt x="367690" y="1930374"/>
                    </a:lnTo>
                    <a:lnTo>
                      <a:pt x="367690" y="1746529"/>
                    </a:lnTo>
                    <a:lnTo>
                      <a:pt x="459613" y="1746529"/>
                    </a:lnTo>
                    <a:lnTo>
                      <a:pt x="459613" y="1654606"/>
                    </a:lnTo>
                    <a:lnTo>
                      <a:pt x="367690" y="1654606"/>
                    </a:lnTo>
                    <a:lnTo>
                      <a:pt x="275767" y="1654606"/>
                    </a:lnTo>
                    <a:lnTo>
                      <a:pt x="275767" y="1838452"/>
                    </a:lnTo>
                    <a:lnTo>
                      <a:pt x="183845" y="1838452"/>
                    </a:lnTo>
                    <a:lnTo>
                      <a:pt x="183845" y="1654606"/>
                    </a:lnTo>
                    <a:lnTo>
                      <a:pt x="91922" y="1654606"/>
                    </a:lnTo>
                    <a:lnTo>
                      <a:pt x="91922" y="1470761"/>
                    </a:lnTo>
                    <a:lnTo>
                      <a:pt x="183845" y="1470761"/>
                    </a:lnTo>
                    <a:lnTo>
                      <a:pt x="183845" y="1378839"/>
                    </a:lnTo>
                    <a:lnTo>
                      <a:pt x="91922" y="1378839"/>
                    </a:lnTo>
                    <a:lnTo>
                      <a:pt x="91922" y="1194993"/>
                    </a:lnTo>
                    <a:lnTo>
                      <a:pt x="0" y="1194993"/>
                    </a:lnTo>
                    <a:lnTo>
                      <a:pt x="0" y="1746529"/>
                    </a:lnTo>
                    <a:lnTo>
                      <a:pt x="91922" y="1746529"/>
                    </a:lnTo>
                    <a:lnTo>
                      <a:pt x="91922" y="1930374"/>
                    </a:lnTo>
                    <a:lnTo>
                      <a:pt x="183845" y="1930374"/>
                    </a:lnTo>
                    <a:lnTo>
                      <a:pt x="183845" y="2022297"/>
                    </a:lnTo>
                    <a:lnTo>
                      <a:pt x="183845" y="2114219"/>
                    </a:lnTo>
                    <a:lnTo>
                      <a:pt x="275767" y="2114219"/>
                    </a:lnTo>
                    <a:lnTo>
                      <a:pt x="275767" y="2206142"/>
                    </a:lnTo>
                    <a:lnTo>
                      <a:pt x="367690" y="2206142"/>
                    </a:lnTo>
                    <a:lnTo>
                      <a:pt x="367690" y="2114219"/>
                    </a:lnTo>
                    <a:lnTo>
                      <a:pt x="459613" y="2114219"/>
                    </a:lnTo>
                    <a:lnTo>
                      <a:pt x="459613" y="2022297"/>
                    </a:lnTo>
                    <a:lnTo>
                      <a:pt x="551535" y="2022297"/>
                    </a:lnTo>
                    <a:lnTo>
                      <a:pt x="551535" y="1930374"/>
                    </a:lnTo>
                    <a:close/>
                  </a:path>
                  <a:path w="735964" h="3034029">
                    <a:moveTo>
                      <a:pt x="551535" y="1470761"/>
                    </a:moveTo>
                    <a:lnTo>
                      <a:pt x="459613" y="1470761"/>
                    </a:lnTo>
                    <a:lnTo>
                      <a:pt x="367690" y="1470761"/>
                    </a:lnTo>
                    <a:lnTo>
                      <a:pt x="275767" y="1470761"/>
                    </a:lnTo>
                    <a:lnTo>
                      <a:pt x="275767" y="1562684"/>
                    </a:lnTo>
                    <a:lnTo>
                      <a:pt x="367690" y="1562684"/>
                    </a:lnTo>
                    <a:lnTo>
                      <a:pt x="459613" y="1562684"/>
                    </a:lnTo>
                    <a:lnTo>
                      <a:pt x="551535" y="1562684"/>
                    </a:lnTo>
                    <a:lnTo>
                      <a:pt x="551535" y="1470761"/>
                    </a:lnTo>
                    <a:close/>
                  </a:path>
                  <a:path w="735964" h="3034029">
                    <a:moveTo>
                      <a:pt x="643458" y="2665755"/>
                    </a:moveTo>
                    <a:lnTo>
                      <a:pt x="551535" y="2665755"/>
                    </a:lnTo>
                    <a:lnTo>
                      <a:pt x="551535" y="2481910"/>
                    </a:lnTo>
                    <a:lnTo>
                      <a:pt x="459613" y="2481910"/>
                    </a:lnTo>
                    <a:lnTo>
                      <a:pt x="459613" y="2757678"/>
                    </a:lnTo>
                    <a:lnTo>
                      <a:pt x="367690" y="2757678"/>
                    </a:lnTo>
                    <a:lnTo>
                      <a:pt x="275767" y="2757678"/>
                    </a:lnTo>
                    <a:lnTo>
                      <a:pt x="275767" y="2849600"/>
                    </a:lnTo>
                    <a:lnTo>
                      <a:pt x="275767" y="2941536"/>
                    </a:lnTo>
                    <a:lnTo>
                      <a:pt x="183845" y="2941536"/>
                    </a:lnTo>
                    <a:lnTo>
                      <a:pt x="91922" y="2941536"/>
                    </a:lnTo>
                    <a:lnTo>
                      <a:pt x="91922" y="2849600"/>
                    </a:lnTo>
                    <a:lnTo>
                      <a:pt x="91922" y="2757678"/>
                    </a:lnTo>
                    <a:lnTo>
                      <a:pt x="0" y="2757678"/>
                    </a:lnTo>
                    <a:lnTo>
                      <a:pt x="0" y="2849600"/>
                    </a:lnTo>
                    <a:lnTo>
                      <a:pt x="0" y="3033445"/>
                    </a:lnTo>
                    <a:lnTo>
                      <a:pt x="91922" y="3033445"/>
                    </a:lnTo>
                    <a:lnTo>
                      <a:pt x="183845" y="3033458"/>
                    </a:lnTo>
                    <a:lnTo>
                      <a:pt x="275767" y="3033458"/>
                    </a:lnTo>
                    <a:lnTo>
                      <a:pt x="367690" y="3033445"/>
                    </a:lnTo>
                    <a:lnTo>
                      <a:pt x="459613" y="3033458"/>
                    </a:lnTo>
                    <a:lnTo>
                      <a:pt x="551535" y="3033458"/>
                    </a:lnTo>
                    <a:lnTo>
                      <a:pt x="643458" y="3033458"/>
                    </a:lnTo>
                    <a:lnTo>
                      <a:pt x="643458" y="2941536"/>
                    </a:lnTo>
                    <a:lnTo>
                      <a:pt x="551535" y="2941536"/>
                    </a:lnTo>
                    <a:lnTo>
                      <a:pt x="459613" y="2941536"/>
                    </a:lnTo>
                    <a:lnTo>
                      <a:pt x="367690" y="2941536"/>
                    </a:lnTo>
                    <a:lnTo>
                      <a:pt x="367690" y="2849600"/>
                    </a:lnTo>
                    <a:lnTo>
                      <a:pt x="459613" y="2849600"/>
                    </a:lnTo>
                    <a:lnTo>
                      <a:pt x="551535" y="2849613"/>
                    </a:lnTo>
                    <a:lnTo>
                      <a:pt x="643458" y="2849600"/>
                    </a:lnTo>
                    <a:lnTo>
                      <a:pt x="643458" y="2665755"/>
                    </a:lnTo>
                    <a:close/>
                  </a:path>
                  <a:path w="735964" h="3034029">
                    <a:moveTo>
                      <a:pt x="643458" y="2389987"/>
                    </a:moveTo>
                    <a:lnTo>
                      <a:pt x="551535" y="2389987"/>
                    </a:lnTo>
                    <a:lnTo>
                      <a:pt x="551535" y="2481910"/>
                    </a:lnTo>
                    <a:lnTo>
                      <a:pt x="643458" y="2481910"/>
                    </a:lnTo>
                    <a:lnTo>
                      <a:pt x="643458" y="2389987"/>
                    </a:lnTo>
                    <a:close/>
                  </a:path>
                  <a:path w="735964" h="3034029">
                    <a:moveTo>
                      <a:pt x="643458" y="2206142"/>
                    </a:moveTo>
                    <a:lnTo>
                      <a:pt x="551535" y="2206142"/>
                    </a:lnTo>
                    <a:lnTo>
                      <a:pt x="551535" y="2298065"/>
                    </a:lnTo>
                    <a:lnTo>
                      <a:pt x="643458" y="2298065"/>
                    </a:lnTo>
                    <a:lnTo>
                      <a:pt x="643458" y="2206142"/>
                    </a:lnTo>
                    <a:close/>
                  </a:path>
                  <a:path w="735964" h="3034029">
                    <a:moveTo>
                      <a:pt x="643458" y="2022297"/>
                    </a:moveTo>
                    <a:lnTo>
                      <a:pt x="551535" y="2022297"/>
                    </a:lnTo>
                    <a:lnTo>
                      <a:pt x="551535" y="2114219"/>
                    </a:lnTo>
                    <a:lnTo>
                      <a:pt x="643458" y="2114219"/>
                    </a:lnTo>
                    <a:lnTo>
                      <a:pt x="643458" y="2022297"/>
                    </a:lnTo>
                    <a:close/>
                  </a:path>
                  <a:path w="735964" h="3034029">
                    <a:moveTo>
                      <a:pt x="643458" y="1746529"/>
                    </a:moveTo>
                    <a:lnTo>
                      <a:pt x="551535" y="1746529"/>
                    </a:lnTo>
                    <a:lnTo>
                      <a:pt x="459613" y="1746529"/>
                    </a:lnTo>
                    <a:lnTo>
                      <a:pt x="459613" y="1838452"/>
                    </a:lnTo>
                    <a:lnTo>
                      <a:pt x="551535" y="1838452"/>
                    </a:lnTo>
                    <a:lnTo>
                      <a:pt x="643458" y="1838452"/>
                    </a:lnTo>
                    <a:lnTo>
                      <a:pt x="643458" y="1746529"/>
                    </a:lnTo>
                    <a:close/>
                  </a:path>
                  <a:path w="735964" h="3034029">
                    <a:moveTo>
                      <a:pt x="643458" y="1562684"/>
                    </a:moveTo>
                    <a:lnTo>
                      <a:pt x="551535" y="1562684"/>
                    </a:lnTo>
                    <a:lnTo>
                      <a:pt x="551535" y="1654606"/>
                    </a:lnTo>
                    <a:lnTo>
                      <a:pt x="643458" y="1654606"/>
                    </a:lnTo>
                    <a:lnTo>
                      <a:pt x="643458" y="1562684"/>
                    </a:lnTo>
                    <a:close/>
                  </a:path>
                  <a:path w="735964" h="3034029">
                    <a:moveTo>
                      <a:pt x="643458" y="275767"/>
                    </a:moveTo>
                    <a:lnTo>
                      <a:pt x="551535" y="275767"/>
                    </a:lnTo>
                    <a:lnTo>
                      <a:pt x="551535" y="367690"/>
                    </a:lnTo>
                    <a:lnTo>
                      <a:pt x="643458" y="367690"/>
                    </a:lnTo>
                    <a:lnTo>
                      <a:pt x="643458" y="275767"/>
                    </a:lnTo>
                    <a:close/>
                  </a:path>
                  <a:path w="735964" h="3034029">
                    <a:moveTo>
                      <a:pt x="735380" y="367690"/>
                    </a:moveTo>
                    <a:lnTo>
                      <a:pt x="643458" y="367690"/>
                    </a:lnTo>
                    <a:lnTo>
                      <a:pt x="643458" y="459613"/>
                    </a:lnTo>
                    <a:lnTo>
                      <a:pt x="551535" y="459613"/>
                    </a:lnTo>
                    <a:lnTo>
                      <a:pt x="459613" y="459613"/>
                    </a:lnTo>
                    <a:lnTo>
                      <a:pt x="459613" y="551535"/>
                    </a:lnTo>
                    <a:lnTo>
                      <a:pt x="551535" y="551535"/>
                    </a:lnTo>
                    <a:lnTo>
                      <a:pt x="551535" y="643458"/>
                    </a:lnTo>
                    <a:lnTo>
                      <a:pt x="459613" y="643458"/>
                    </a:lnTo>
                    <a:lnTo>
                      <a:pt x="459613" y="551535"/>
                    </a:lnTo>
                    <a:lnTo>
                      <a:pt x="367690" y="551535"/>
                    </a:lnTo>
                    <a:lnTo>
                      <a:pt x="367690" y="735380"/>
                    </a:lnTo>
                    <a:lnTo>
                      <a:pt x="275767" y="735380"/>
                    </a:lnTo>
                    <a:lnTo>
                      <a:pt x="183845" y="735380"/>
                    </a:lnTo>
                    <a:lnTo>
                      <a:pt x="183845" y="919238"/>
                    </a:lnTo>
                    <a:lnTo>
                      <a:pt x="275767" y="919238"/>
                    </a:lnTo>
                    <a:lnTo>
                      <a:pt x="275767" y="1011148"/>
                    </a:lnTo>
                    <a:lnTo>
                      <a:pt x="183845" y="1011148"/>
                    </a:lnTo>
                    <a:lnTo>
                      <a:pt x="183845" y="1103071"/>
                    </a:lnTo>
                    <a:lnTo>
                      <a:pt x="275767" y="1103071"/>
                    </a:lnTo>
                    <a:lnTo>
                      <a:pt x="367690" y="1103083"/>
                    </a:lnTo>
                    <a:lnTo>
                      <a:pt x="367690" y="1194993"/>
                    </a:lnTo>
                    <a:lnTo>
                      <a:pt x="275767" y="1194993"/>
                    </a:lnTo>
                    <a:lnTo>
                      <a:pt x="275767" y="1378839"/>
                    </a:lnTo>
                    <a:lnTo>
                      <a:pt x="367690" y="1378839"/>
                    </a:lnTo>
                    <a:lnTo>
                      <a:pt x="367690" y="1286916"/>
                    </a:lnTo>
                    <a:lnTo>
                      <a:pt x="459613" y="1286916"/>
                    </a:lnTo>
                    <a:lnTo>
                      <a:pt x="459613" y="1378839"/>
                    </a:lnTo>
                    <a:lnTo>
                      <a:pt x="551535" y="1378839"/>
                    </a:lnTo>
                    <a:lnTo>
                      <a:pt x="551535" y="1470761"/>
                    </a:lnTo>
                    <a:lnTo>
                      <a:pt x="643458" y="1470761"/>
                    </a:lnTo>
                    <a:lnTo>
                      <a:pt x="643458" y="1286916"/>
                    </a:lnTo>
                    <a:lnTo>
                      <a:pt x="551535" y="1286916"/>
                    </a:lnTo>
                    <a:lnTo>
                      <a:pt x="551535" y="1194993"/>
                    </a:lnTo>
                    <a:lnTo>
                      <a:pt x="643458" y="1194993"/>
                    </a:lnTo>
                    <a:lnTo>
                      <a:pt x="643458" y="1011148"/>
                    </a:lnTo>
                    <a:lnTo>
                      <a:pt x="551535" y="1011148"/>
                    </a:lnTo>
                    <a:lnTo>
                      <a:pt x="551535" y="1103071"/>
                    </a:lnTo>
                    <a:lnTo>
                      <a:pt x="459613" y="1103071"/>
                    </a:lnTo>
                    <a:lnTo>
                      <a:pt x="367690" y="1103071"/>
                    </a:lnTo>
                    <a:lnTo>
                      <a:pt x="367690" y="1011161"/>
                    </a:lnTo>
                    <a:lnTo>
                      <a:pt x="459613" y="1011161"/>
                    </a:lnTo>
                    <a:lnTo>
                      <a:pt x="459613" y="919238"/>
                    </a:lnTo>
                    <a:lnTo>
                      <a:pt x="367690" y="919238"/>
                    </a:lnTo>
                    <a:lnTo>
                      <a:pt x="367690" y="827303"/>
                    </a:lnTo>
                    <a:lnTo>
                      <a:pt x="459613" y="827303"/>
                    </a:lnTo>
                    <a:lnTo>
                      <a:pt x="459613" y="735380"/>
                    </a:lnTo>
                    <a:lnTo>
                      <a:pt x="551535" y="735380"/>
                    </a:lnTo>
                    <a:lnTo>
                      <a:pt x="551535" y="919238"/>
                    </a:lnTo>
                    <a:lnTo>
                      <a:pt x="643458" y="919238"/>
                    </a:lnTo>
                    <a:lnTo>
                      <a:pt x="735380" y="919238"/>
                    </a:lnTo>
                    <a:lnTo>
                      <a:pt x="735380" y="827303"/>
                    </a:lnTo>
                    <a:lnTo>
                      <a:pt x="643458" y="827303"/>
                    </a:lnTo>
                    <a:lnTo>
                      <a:pt x="643458" y="735380"/>
                    </a:lnTo>
                    <a:lnTo>
                      <a:pt x="735380" y="735380"/>
                    </a:lnTo>
                    <a:lnTo>
                      <a:pt x="735380" y="643458"/>
                    </a:lnTo>
                    <a:lnTo>
                      <a:pt x="643458" y="643458"/>
                    </a:lnTo>
                    <a:lnTo>
                      <a:pt x="643458" y="551535"/>
                    </a:lnTo>
                    <a:lnTo>
                      <a:pt x="735380" y="551535"/>
                    </a:lnTo>
                    <a:lnTo>
                      <a:pt x="735380" y="367690"/>
                    </a:lnTo>
                    <a:close/>
                  </a:path>
                  <a:path w="735964" h="3034029">
                    <a:moveTo>
                      <a:pt x="735380" y="0"/>
                    </a:moveTo>
                    <a:lnTo>
                      <a:pt x="643458" y="0"/>
                    </a:lnTo>
                    <a:lnTo>
                      <a:pt x="643458" y="91922"/>
                    </a:lnTo>
                    <a:lnTo>
                      <a:pt x="551535" y="91922"/>
                    </a:lnTo>
                    <a:lnTo>
                      <a:pt x="551535" y="0"/>
                    </a:lnTo>
                    <a:lnTo>
                      <a:pt x="459613" y="0"/>
                    </a:lnTo>
                    <a:lnTo>
                      <a:pt x="367690" y="0"/>
                    </a:lnTo>
                    <a:lnTo>
                      <a:pt x="275767" y="0"/>
                    </a:lnTo>
                    <a:lnTo>
                      <a:pt x="275767" y="275767"/>
                    </a:lnTo>
                    <a:lnTo>
                      <a:pt x="275767" y="551535"/>
                    </a:lnTo>
                    <a:lnTo>
                      <a:pt x="367690" y="551535"/>
                    </a:lnTo>
                    <a:lnTo>
                      <a:pt x="367690" y="459613"/>
                    </a:lnTo>
                    <a:lnTo>
                      <a:pt x="459613" y="459613"/>
                    </a:lnTo>
                    <a:lnTo>
                      <a:pt x="459613" y="275767"/>
                    </a:lnTo>
                    <a:lnTo>
                      <a:pt x="367690" y="275767"/>
                    </a:lnTo>
                    <a:lnTo>
                      <a:pt x="367690" y="183845"/>
                    </a:lnTo>
                    <a:lnTo>
                      <a:pt x="459613" y="183845"/>
                    </a:lnTo>
                    <a:lnTo>
                      <a:pt x="459613" y="275767"/>
                    </a:lnTo>
                    <a:lnTo>
                      <a:pt x="551535" y="275767"/>
                    </a:lnTo>
                    <a:lnTo>
                      <a:pt x="551535" y="183845"/>
                    </a:lnTo>
                    <a:lnTo>
                      <a:pt x="643458" y="183845"/>
                    </a:lnTo>
                    <a:lnTo>
                      <a:pt x="643458" y="275767"/>
                    </a:lnTo>
                    <a:lnTo>
                      <a:pt x="735380" y="275767"/>
                    </a:lnTo>
                    <a:lnTo>
                      <a:pt x="735380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object 13"/>
              <p:cNvSpPr/>
              <p:nvPr/>
            </p:nvSpPr>
            <p:spPr>
              <a:xfrm>
                <a:off x="1805457" y="3337699"/>
                <a:ext cx="735965" cy="3034030"/>
              </a:xfrm>
              <a:custGeom>
                <a:avLst/>
                <a:gdLst/>
                <a:ahLst/>
                <a:cxnLst/>
                <a:rect l="l" t="t" r="r" b="b"/>
                <a:pathLst>
                  <a:path w="735964" h="3034029">
                    <a:moveTo>
                      <a:pt x="91922" y="2206142"/>
                    </a:moveTo>
                    <a:lnTo>
                      <a:pt x="0" y="2206142"/>
                    </a:lnTo>
                    <a:lnTo>
                      <a:pt x="0" y="2389987"/>
                    </a:lnTo>
                    <a:lnTo>
                      <a:pt x="91922" y="2389987"/>
                    </a:lnTo>
                    <a:lnTo>
                      <a:pt x="91922" y="2206142"/>
                    </a:lnTo>
                    <a:close/>
                  </a:path>
                  <a:path w="735964" h="3034029">
                    <a:moveTo>
                      <a:pt x="91922" y="2022297"/>
                    </a:moveTo>
                    <a:lnTo>
                      <a:pt x="0" y="2022297"/>
                    </a:lnTo>
                    <a:lnTo>
                      <a:pt x="0" y="2114219"/>
                    </a:lnTo>
                    <a:lnTo>
                      <a:pt x="91922" y="2114219"/>
                    </a:lnTo>
                    <a:lnTo>
                      <a:pt x="91922" y="2022297"/>
                    </a:lnTo>
                    <a:close/>
                  </a:path>
                  <a:path w="735964" h="3034029">
                    <a:moveTo>
                      <a:pt x="91922" y="827303"/>
                    </a:moveTo>
                    <a:lnTo>
                      <a:pt x="0" y="827303"/>
                    </a:lnTo>
                    <a:lnTo>
                      <a:pt x="0" y="919238"/>
                    </a:lnTo>
                    <a:lnTo>
                      <a:pt x="91922" y="919238"/>
                    </a:lnTo>
                    <a:lnTo>
                      <a:pt x="91922" y="827303"/>
                    </a:lnTo>
                    <a:close/>
                  </a:path>
                  <a:path w="735964" h="3034029">
                    <a:moveTo>
                      <a:pt x="183845" y="1930374"/>
                    </a:moveTo>
                    <a:lnTo>
                      <a:pt x="91922" y="1930374"/>
                    </a:lnTo>
                    <a:lnTo>
                      <a:pt x="91922" y="2022297"/>
                    </a:lnTo>
                    <a:lnTo>
                      <a:pt x="183845" y="2022297"/>
                    </a:lnTo>
                    <a:lnTo>
                      <a:pt x="183845" y="1930374"/>
                    </a:lnTo>
                    <a:close/>
                  </a:path>
                  <a:path w="735964" h="3034029">
                    <a:moveTo>
                      <a:pt x="183845" y="1746529"/>
                    </a:moveTo>
                    <a:lnTo>
                      <a:pt x="91922" y="1746529"/>
                    </a:lnTo>
                    <a:lnTo>
                      <a:pt x="91922" y="1654606"/>
                    </a:lnTo>
                    <a:lnTo>
                      <a:pt x="0" y="1654606"/>
                    </a:lnTo>
                    <a:lnTo>
                      <a:pt x="0" y="1838452"/>
                    </a:lnTo>
                    <a:lnTo>
                      <a:pt x="91922" y="1838452"/>
                    </a:lnTo>
                    <a:lnTo>
                      <a:pt x="183845" y="1838452"/>
                    </a:lnTo>
                    <a:lnTo>
                      <a:pt x="183845" y="1746529"/>
                    </a:lnTo>
                    <a:close/>
                  </a:path>
                  <a:path w="735964" h="3034029">
                    <a:moveTo>
                      <a:pt x="275767" y="183845"/>
                    </a:moveTo>
                    <a:lnTo>
                      <a:pt x="183845" y="183845"/>
                    </a:lnTo>
                    <a:lnTo>
                      <a:pt x="91922" y="183845"/>
                    </a:lnTo>
                    <a:lnTo>
                      <a:pt x="91922" y="275767"/>
                    </a:lnTo>
                    <a:lnTo>
                      <a:pt x="183845" y="275767"/>
                    </a:lnTo>
                    <a:lnTo>
                      <a:pt x="183845" y="459613"/>
                    </a:lnTo>
                    <a:lnTo>
                      <a:pt x="91922" y="459613"/>
                    </a:lnTo>
                    <a:lnTo>
                      <a:pt x="91922" y="735380"/>
                    </a:lnTo>
                    <a:lnTo>
                      <a:pt x="183845" y="735380"/>
                    </a:lnTo>
                    <a:lnTo>
                      <a:pt x="183845" y="551535"/>
                    </a:lnTo>
                    <a:lnTo>
                      <a:pt x="275767" y="551535"/>
                    </a:lnTo>
                    <a:lnTo>
                      <a:pt x="275767" y="275767"/>
                    </a:lnTo>
                    <a:lnTo>
                      <a:pt x="275767" y="183845"/>
                    </a:lnTo>
                    <a:close/>
                  </a:path>
                  <a:path w="735964" h="3034029">
                    <a:moveTo>
                      <a:pt x="275767" y="0"/>
                    </a:moveTo>
                    <a:lnTo>
                      <a:pt x="183845" y="0"/>
                    </a:lnTo>
                    <a:lnTo>
                      <a:pt x="91922" y="0"/>
                    </a:lnTo>
                    <a:lnTo>
                      <a:pt x="91922" y="91922"/>
                    </a:lnTo>
                    <a:lnTo>
                      <a:pt x="183845" y="91922"/>
                    </a:lnTo>
                    <a:lnTo>
                      <a:pt x="275767" y="91922"/>
                    </a:lnTo>
                    <a:lnTo>
                      <a:pt x="275767" y="0"/>
                    </a:lnTo>
                    <a:close/>
                  </a:path>
                  <a:path w="735964" h="3034029">
                    <a:moveTo>
                      <a:pt x="367690" y="91922"/>
                    </a:moveTo>
                    <a:lnTo>
                      <a:pt x="275767" y="91922"/>
                    </a:lnTo>
                    <a:lnTo>
                      <a:pt x="275767" y="183845"/>
                    </a:lnTo>
                    <a:lnTo>
                      <a:pt x="367690" y="183845"/>
                    </a:lnTo>
                    <a:lnTo>
                      <a:pt x="367690" y="91922"/>
                    </a:lnTo>
                    <a:close/>
                  </a:path>
                  <a:path w="735964" h="3034029">
                    <a:moveTo>
                      <a:pt x="459613" y="2849600"/>
                    </a:moveTo>
                    <a:lnTo>
                      <a:pt x="367690" y="2849600"/>
                    </a:lnTo>
                    <a:lnTo>
                      <a:pt x="275767" y="2849600"/>
                    </a:lnTo>
                    <a:lnTo>
                      <a:pt x="183845" y="2849600"/>
                    </a:lnTo>
                    <a:lnTo>
                      <a:pt x="183845" y="2757678"/>
                    </a:lnTo>
                    <a:lnTo>
                      <a:pt x="91922" y="2757678"/>
                    </a:lnTo>
                    <a:lnTo>
                      <a:pt x="0" y="2757678"/>
                    </a:lnTo>
                    <a:lnTo>
                      <a:pt x="0" y="2849600"/>
                    </a:lnTo>
                    <a:lnTo>
                      <a:pt x="0" y="2941523"/>
                    </a:lnTo>
                    <a:lnTo>
                      <a:pt x="91922" y="2941523"/>
                    </a:lnTo>
                    <a:lnTo>
                      <a:pt x="183845" y="2941523"/>
                    </a:lnTo>
                    <a:lnTo>
                      <a:pt x="275767" y="2941523"/>
                    </a:lnTo>
                    <a:lnTo>
                      <a:pt x="367690" y="2941523"/>
                    </a:lnTo>
                    <a:lnTo>
                      <a:pt x="367690" y="3033445"/>
                    </a:lnTo>
                    <a:lnTo>
                      <a:pt x="459613" y="3033445"/>
                    </a:lnTo>
                    <a:lnTo>
                      <a:pt x="459613" y="2849600"/>
                    </a:lnTo>
                    <a:close/>
                  </a:path>
                  <a:path w="735964" h="3034029">
                    <a:moveTo>
                      <a:pt x="459613" y="2389987"/>
                    </a:moveTo>
                    <a:lnTo>
                      <a:pt x="367690" y="2389987"/>
                    </a:lnTo>
                    <a:lnTo>
                      <a:pt x="367690" y="2573845"/>
                    </a:lnTo>
                    <a:lnTo>
                      <a:pt x="459613" y="2573845"/>
                    </a:lnTo>
                    <a:lnTo>
                      <a:pt x="459613" y="2389987"/>
                    </a:lnTo>
                    <a:close/>
                  </a:path>
                  <a:path w="735964" h="3034029">
                    <a:moveTo>
                      <a:pt x="459613" y="2114219"/>
                    </a:moveTo>
                    <a:lnTo>
                      <a:pt x="367690" y="2114219"/>
                    </a:lnTo>
                    <a:lnTo>
                      <a:pt x="275767" y="2114219"/>
                    </a:lnTo>
                    <a:lnTo>
                      <a:pt x="275767" y="2022297"/>
                    </a:lnTo>
                    <a:lnTo>
                      <a:pt x="183845" y="2022297"/>
                    </a:lnTo>
                    <a:lnTo>
                      <a:pt x="183845" y="2114219"/>
                    </a:lnTo>
                    <a:lnTo>
                      <a:pt x="91922" y="2114219"/>
                    </a:lnTo>
                    <a:lnTo>
                      <a:pt x="91922" y="2206142"/>
                    </a:lnTo>
                    <a:lnTo>
                      <a:pt x="183845" y="2206142"/>
                    </a:lnTo>
                    <a:lnTo>
                      <a:pt x="183845" y="2389987"/>
                    </a:lnTo>
                    <a:lnTo>
                      <a:pt x="275767" y="2389987"/>
                    </a:lnTo>
                    <a:lnTo>
                      <a:pt x="367690" y="2389987"/>
                    </a:lnTo>
                    <a:lnTo>
                      <a:pt x="367690" y="2298065"/>
                    </a:lnTo>
                    <a:lnTo>
                      <a:pt x="459613" y="2298065"/>
                    </a:lnTo>
                    <a:lnTo>
                      <a:pt x="459613" y="2114219"/>
                    </a:lnTo>
                    <a:close/>
                  </a:path>
                  <a:path w="735964" h="3034029">
                    <a:moveTo>
                      <a:pt x="551535" y="2022297"/>
                    </a:moveTo>
                    <a:lnTo>
                      <a:pt x="459613" y="2022297"/>
                    </a:lnTo>
                    <a:lnTo>
                      <a:pt x="459613" y="2114219"/>
                    </a:lnTo>
                    <a:lnTo>
                      <a:pt x="551535" y="2114219"/>
                    </a:lnTo>
                    <a:lnTo>
                      <a:pt x="551535" y="2022297"/>
                    </a:lnTo>
                    <a:close/>
                  </a:path>
                  <a:path w="735964" h="3034029">
                    <a:moveTo>
                      <a:pt x="643458" y="2665755"/>
                    </a:moveTo>
                    <a:lnTo>
                      <a:pt x="551535" y="2665755"/>
                    </a:lnTo>
                    <a:lnTo>
                      <a:pt x="551535" y="2573845"/>
                    </a:lnTo>
                    <a:lnTo>
                      <a:pt x="459613" y="2573845"/>
                    </a:lnTo>
                    <a:lnTo>
                      <a:pt x="459613" y="2665755"/>
                    </a:lnTo>
                    <a:lnTo>
                      <a:pt x="367690" y="2665755"/>
                    </a:lnTo>
                    <a:lnTo>
                      <a:pt x="275767" y="2665755"/>
                    </a:lnTo>
                    <a:lnTo>
                      <a:pt x="275767" y="2573845"/>
                    </a:lnTo>
                    <a:lnTo>
                      <a:pt x="183845" y="2573845"/>
                    </a:lnTo>
                    <a:lnTo>
                      <a:pt x="183845" y="2481910"/>
                    </a:lnTo>
                    <a:lnTo>
                      <a:pt x="91922" y="2481910"/>
                    </a:lnTo>
                    <a:lnTo>
                      <a:pt x="0" y="2481910"/>
                    </a:lnTo>
                    <a:lnTo>
                      <a:pt x="0" y="2573845"/>
                    </a:lnTo>
                    <a:lnTo>
                      <a:pt x="91922" y="2573845"/>
                    </a:lnTo>
                    <a:lnTo>
                      <a:pt x="91922" y="2665768"/>
                    </a:lnTo>
                    <a:lnTo>
                      <a:pt x="183845" y="2665768"/>
                    </a:lnTo>
                    <a:lnTo>
                      <a:pt x="275767" y="2665768"/>
                    </a:lnTo>
                    <a:lnTo>
                      <a:pt x="275767" y="2757678"/>
                    </a:lnTo>
                    <a:lnTo>
                      <a:pt x="367690" y="2757678"/>
                    </a:lnTo>
                    <a:lnTo>
                      <a:pt x="459613" y="2757678"/>
                    </a:lnTo>
                    <a:lnTo>
                      <a:pt x="459613" y="2665768"/>
                    </a:lnTo>
                    <a:lnTo>
                      <a:pt x="551535" y="2665768"/>
                    </a:lnTo>
                    <a:lnTo>
                      <a:pt x="551535" y="2849600"/>
                    </a:lnTo>
                    <a:lnTo>
                      <a:pt x="643458" y="2849600"/>
                    </a:lnTo>
                    <a:lnTo>
                      <a:pt x="643458" y="2665755"/>
                    </a:lnTo>
                    <a:close/>
                  </a:path>
                  <a:path w="735964" h="3034029">
                    <a:moveTo>
                      <a:pt x="643458" y="1286916"/>
                    </a:moveTo>
                    <a:lnTo>
                      <a:pt x="551535" y="1286916"/>
                    </a:lnTo>
                    <a:lnTo>
                      <a:pt x="551535" y="1378839"/>
                    </a:lnTo>
                    <a:lnTo>
                      <a:pt x="643458" y="1378839"/>
                    </a:lnTo>
                    <a:lnTo>
                      <a:pt x="643458" y="1286916"/>
                    </a:lnTo>
                    <a:close/>
                  </a:path>
                  <a:path w="735964" h="3034029">
                    <a:moveTo>
                      <a:pt x="643458" y="735380"/>
                    </a:moveTo>
                    <a:lnTo>
                      <a:pt x="551535" y="735380"/>
                    </a:lnTo>
                    <a:lnTo>
                      <a:pt x="551535" y="827303"/>
                    </a:lnTo>
                    <a:lnTo>
                      <a:pt x="643458" y="827303"/>
                    </a:lnTo>
                    <a:lnTo>
                      <a:pt x="643458" y="735380"/>
                    </a:lnTo>
                    <a:close/>
                  </a:path>
                  <a:path w="735964" h="3034029">
                    <a:moveTo>
                      <a:pt x="735380" y="2206142"/>
                    </a:moveTo>
                    <a:lnTo>
                      <a:pt x="643458" y="2206142"/>
                    </a:lnTo>
                    <a:lnTo>
                      <a:pt x="643458" y="2389987"/>
                    </a:lnTo>
                    <a:lnTo>
                      <a:pt x="735380" y="2389987"/>
                    </a:lnTo>
                    <a:lnTo>
                      <a:pt x="735380" y="2206142"/>
                    </a:lnTo>
                    <a:close/>
                  </a:path>
                  <a:path w="735964" h="3034029">
                    <a:moveTo>
                      <a:pt x="735380" y="1746529"/>
                    </a:moveTo>
                    <a:lnTo>
                      <a:pt x="643458" y="1746529"/>
                    </a:lnTo>
                    <a:lnTo>
                      <a:pt x="643458" y="1838452"/>
                    </a:lnTo>
                    <a:lnTo>
                      <a:pt x="551535" y="1838452"/>
                    </a:lnTo>
                    <a:lnTo>
                      <a:pt x="551535" y="2022297"/>
                    </a:lnTo>
                    <a:lnTo>
                      <a:pt x="643458" y="2022297"/>
                    </a:lnTo>
                    <a:lnTo>
                      <a:pt x="643458" y="2114219"/>
                    </a:lnTo>
                    <a:lnTo>
                      <a:pt x="735380" y="2114219"/>
                    </a:lnTo>
                    <a:lnTo>
                      <a:pt x="735380" y="2022297"/>
                    </a:lnTo>
                    <a:lnTo>
                      <a:pt x="735380" y="1746529"/>
                    </a:lnTo>
                    <a:close/>
                  </a:path>
                  <a:path w="735964" h="3034029">
                    <a:moveTo>
                      <a:pt x="735380" y="1470761"/>
                    </a:moveTo>
                    <a:lnTo>
                      <a:pt x="643458" y="1470761"/>
                    </a:lnTo>
                    <a:lnTo>
                      <a:pt x="551535" y="1470761"/>
                    </a:lnTo>
                    <a:lnTo>
                      <a:pt x="551535" y="1378839"/>
                    </a:lnTo>
                    <a:lnTo>
                      <a:pt x="459613" y="1378839"/>
                    </a:lnTo>
                    <a:lnTo>
                      <a:pt x="367690" y="1378839"/>
                    </a:lnTo>
                    <a:lnTo>
                      <a:pt x="275767" y="1378839"/>
                    </a:lnTo>
                    <a:lnTo>
                      <a:pt x="275767" y="1470761"/>
                    </a:lnTo>
                    <a:lnTo>
                      <a:pt x="183845" y="1470761"/>
                    </a:lnTo>
                    <a:lnTo>
                      <a:pt x="183845" y="1378839"/>
                    </a:lnTo>
                    <a:lnTo>
                      <a:pt x="91922" y="1378839"/>
                    </a:lnTo>
                    <a:lnTo>
                      <a:pt x="91922" y="1286916"/>
                    </a:lnTo>
                    <a:lnTo>
                      <a:pt x="0" y="1286916"/>
                    </a:lnTo>
                    <a:lnTo>
                      <a:pt x="0" y="1562684"/>
                    </a:lnTo>
                    <a:lnTo>
                      <a:pt x="91922" y="1562684"/>
                    </a:lnTo>
                    <a:lnTo>
                      <a:pt x="183845" y="1562684"/>
                    </a:lnTo>
                    <a:lnTo>
                      <a:pt x="275767" y="1562684"/>
                    </a:lnTo>
                    <a:lnTo>
                      <a:pt x="275767" y="1654606"/>
                    </a:lnTo>
                    <a:lnTo>
                      <a:pt x="367690" y="1654606"/>
                    </a:lnTo>
                    <a:lnTo>
                      <a:pt x="367690" y="1746529"/>
                    </a:lnTo>
                    <a:lnTo>
                      <a:pt x="275767" y="1746529"/>
                    </a:lnTo>
                    <a:lnTo>
                      <a:pt x="275767" y="2022297"/>
                    </a:lnTo>
                    <a:lnTo>
                      <a:pt x="367690" y="2022297"/>
                    </a:lnTo>
                    <a:lnTo>
                      <a:pt x="459613" y="2022297"/>
                    </a:lnTo>
                    <a:lnTo>
                      <a:pt x="459613" y="1930374"/>
                    </a:lnTo>
                    <a:lnTo>
                      <a:pt x="367690" y="1930374"/>
                    </a:lnTo>
                    <a:lnTo>
                      <a:pt x="367690" y="1838452"/>
                    </a:lnTo>
                    <a:lnTo>
                      <a:pt x="459613" y="1838452"/>
                    </a:lnTo>
                    <a:lnTo>
                      <a:pt x="459613" y="1654606"/>
                    </a:lnTo>
                    <a:lnTo>
                      <a:pt x="551535" y="1654606"/>
                    </a:lnTo>
                    <a:lnTo>
                      <a:pt x="643458" y="1654606"/>
                    </a:lnTo>
                    <a:lnTo>
                      <a:pt x="643458" y="1562684"/>
                    </a:lnTo>
                    <a:lnTo>
                      <a:pt x="735380" y="1562684"/>
                    </a:lnTo>
                    <a:lnTo>
                      <a:pt x="735380" y="1470761"/>
                    </a:lnTo>
                    <a:close/>
                  </a:path>
                  <a:path w="735964" h="3034029">
                    <a:moveTo>
                      <a:pt x="735380" y="1194993"/>
                    </a:moveTo>
                    <a:lnTo>
                      <a:pt x="643458" y="1194993"/>
                    </a:lnTo>
                    <a:lnTo>
                      <a:pt x="643458" y="1286916"/>
                    </a:lnTo>
                    <a:lnTo>
                      <a:pt x="735380" y="1286916"/>
                    </a:lnTo>
                    <a:lnTo>
                      <a:pt x="735380" y="1194993"/>
                    </a:lnTo>
                    <a:close/>
                  </a:path>
                  <a:path w="735964" h="3034029">
                    <a:moveTo>
                      <a:pt x="735380" y="827303"/>
                    </a:moveTo>
                    <a:lnTo>
                      <a:pt x="643458" y="827303"/>
                    </a:lnTo>
                    <a:lnTo>
                      <a:pt x="643458" y="1011148"/>
                    </a:lnTo>
                    <a:lnTo>
                      <a:pt x="551535" y="1011148"/>
                    </a:lnTo>
                    <a:lnTo>
                      <a:pt x="551535" y="1103071"/>
                    </a:lnTo>
                    <a:lnTo>
                      <a:pt x="459613" y="1103071"/>
                    </a:lnTo>
                    <a:lnTo>
                      <a:pt x="459613" y="1011148"/>
                    </a:lnTo>
                    <a:lnTo>
                      <a:pt x="367690" y="1011148"/>
                    </a:lnTo>
                    <a:lnTo>
                      <a:pt x="367690" y="919238"/>
                    </a:lnTo>
                    <a:lnTo>
                      <a:pt x="459613" y="919238"/>
                    </a:lnTo>
                    <a:lnTo>
                      <a:pt x="551535" y="919238"/>
                    </a:lnTo>
                    <a:lnTo>
                      <a:pt x="551535" y="827303"/>
                    </a:lnTo>
                    <a:lnTo>
                      <a:pt x="459613" y="827303"/>
                    </a:lnTo>
                    <a:lnTo>
                      <a:pt x="459613" y="643458"/>
                    </a:lnTo>
                    <a:lnTo>
                      <a:pt x="367690" y="643458"/>
                    </a:lnTo>
                    <a:lnTo>
                      <a:pt x="367690" y="551535"/>
                    </a:lnTo>
                    <a:lnTo>
                      <a:pt x="275767" y="551535"/>
                    </a:lnTo>
                    <a:lnTo>
                      <a:pt x="275767" y="735380"/>
                    </a:lnTo>
                    <a:lnTo>
                      <a:pt x="367690" y="735380"/>
                    </a:lnTo>
                    <a:lnTo>
                      <a:pt x="367690" y="827303"/>
                    </a:lnTo>
                    <a:lnTo>
                      <a:pt x="275767" y="827303"/>
                    </a:lnTo>
                    <a:lnTo>
                      <a:pt x="275767" y="919238"/>
                    </a:lnTo>
                    <a:lnTo>
                      <a:pt x="183845" y="919238"/>
                    </a:lnTo>
                    <a:lnTo>
                      <a:pt x="91922" y="919238"/>
                    </a:lnTo>
                    <a:lnTo>
                      <a:pt x="91922" y="1011161"/>
                    </a:lnTo>
                    <a:lnTo>
                      <a:pt x="183845" y="1011161"/>
                    </a:lnTo>
                    <a:lnTo>
                      <a:pt x="275767" y="1011161"/>
                    </a:lnTo>
                    <a:lnTo>
                      <a:pt x="367690" y="1011161"/>
                    </a:lnTo>
                    <a:lnTo>
                      <a:pt x="367690" y="1194993"/>
                    </a:lnTo>
                    <a:lnTo>
                      <a:pt x="275767" y="1194993"/>
                    </a:lnTo>
                    <a:lnTo>
                      <a:pt x="275767" y="1103071"/>
                    </a:lnTo>
                    <a:lnTo>
                      <a:pt x="183845" y="1103071"/>
                    </a:lnTo>
                    <a:lnTo>
                      <a:pt x="183845" y="1286916"/>
                    </a:lnTo>
                    <a:lnTo>
                      <a:pt x="275767" y="1286916"/>
                    </a:lnTo>
                    <a:lnTo>
                      <a:pt x="367690" y="1286916"/>
                    </a:lnTo>
                    <a:lnTo>
                      <a:pt x="459613" y="1286916"/>
                    </a:lnTo>
                    <a:lnTo>
                      <a:pt x="459613" y="1194993"/>
                    </a:lnTo>
                    <a:lnTo>
                      <a:pt x="551535" y="1194993"/>
                    </a:lnTo>
                    <a:lnTo>
                      <a:pt x="643458" y="1194993"/>
                    </a:lnTo>
                    <a:lnTo>
                      <a:pt x="643458" y="1103083"/>
                    </a:lnTo>
                    <a:lnTo>
                      <a:pt x="735380" y="1103083"/>
                    </a:lnTo>
                    <a:lnTo>
                      <a:pt x="735380" y="827303"/>
                    </a:lnTo>
                    <a:close/>
                  </a:path>
                  <a:path w="735964" h="3034029">
                    <a:moveTo>
                      <a:pt x="735380" y="551535"/>
                    </a:moveTo>
                    <a:lnTo>
                      <a:pt x="643458" y="551535"/>
                    </a:lnTo>
                    <a:lnTo>
                      <a:pt x="643458" y="643458"/>
                    </a:lnTo>
                    <a:lnTo>
                      <a:pt x="735380" y="643458"/>
                    </a:lnTo>
                    <a:lnTo>
                      <a:pt x="735380" y="551535"/>
                    </a:lnTo>
                    <a:close/>
                  </a:path>
                  <a:path w="735964" h="3034029">
                    <a:moveTo>
                      <a:pt x="735380" y="91922"/>
                    </a:moveTo>
                    <a:lnTo>
                      <a:pt x="643458" y="91922"/>
                    </a:lnTo>
                    <a:lnTo>
                      <a:pt x="643458" y="0"/>
                    </a:lnTo>
                    <a:lnTo>
                      <a:pt x="551535" y="0"/>
                    </a:lnTo>
                    <a:lnTo>
                      <a:pt x="459613" y="0"/>
                    </a:lnTo>
                    <a:lnTo>
                      <a:pt x="459613" y="91922"/>
                    </a:lnTo>
                    <a:lnTo>
                      <a:pt x="551535" y="91922"/>
                    </a:lnTo>
                    <a:lnTo>
                      <a:pt x="551535" y="183845"/>
                    </a:lnTo>
                    <a:lnTo>
                      <a:pt x="459613" y="183845"/>
                    </a:lnTo>
                    <a:lnTo>
                      <a:pt x="459613" y="275767"/>
                    </a:lnTo>
                    <a:lnTo>
                      <a:pt x="459613" y="367690"/>
                    </a:lnTo>
                    <a:lnTo>
                      <a:pt x="367690" y="367690"/>
                    </a:lnTo>
                    <a:lnTo>
                      <a:pt x="367690" y="459613"/>
                    </a:lnTo>
                    <a:lnTo>
                      <a:pt x="459613" y="459613"/>
                    </a:lnTo>
                    <a:lnTo>
                      <a:pt x="459613" y="643458"/>
                    </a:lnTo>
                    <a:lnTo>
                      <a:pt x="551535" y="643458"/>
                    </a:lnTo>
                    <a:lnTo>
                      <a:pt x="551535" y="459613"/>
                    </a:lnTo>
                    <a:lnTo>
                      <a:pt x="643458" y="459613"/>
                    </a:lnTo>
                    <a:lnTo>
                      <a:pt x="643458" y="367690"/>
                    </a:lnTo>
                    <a:lnTo>
                      <a:pt x="551535" y="367690"/>
                    </a:lnTo>
                    <a:lnTo>
                      <a:pt x="551535" y="275767"/>
                    </a:lnTo>
                    <a:lnTo>
                      <a:pt x="643458" y="275767"/>
                    </a:lnTo>
                    <a:lnTo>
                      <a:pt x="643458" y="367690"/>
                    </a:lnTo>
                    <a:lnTo>
                      <a:pt x="735380" y="367690"/>
                    </a:lnTo>
                    <a:lnTo>
                      <a:pt x="735380" y="275767"/>
                    </a:lnTo>
                    <a:lnTo>
                      <a:pt x="735380" y="91922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object 14"/>
              <p:cNvSpPr/>
              <p:nvPr/>
            </p:nvSpPr>
            <p:spPr>
              <a:xfrm>
                <a:off x="2448915" y="3337699"/>
                <a:ext cx="827405" cy="3034030"/>
              </a:xfrm>
              <a:custGeom>
                <a:avLst/>
                <a:gdLst/>
                <a:ahLst/>
                <a:cxnLst/>
                <a:rect l="l" t="t" r="r" b="b"/>
                <a:pathLst>
                  <a:path w="827404" h="3034029">
                    <a:moveTo>
                      <a:pt x="183845" y="2941536"/>
                    </a:moveTo>
                    <a:lnTo>
                      <a:pt x="91922" y="2941536"/>
                    </a:lnTo>
                    <a:lnTo>
                      <a:pt x="0" y="2941536"/>
                    </a:lnTo>
                    <a:lnTo>
                      <a:pt x="0" y="3033458"/>
                    </a:lnTo>
                    <a:lnTo>
                      <a:pt x="91922" y="3033458"/>
                    </a:lnTo>
                    <a:lnTo>
                      <a:pt x="183845" y="3033458"/>
                    </a:lnTo>
                    <a:lnTo>
                      <a:pt x="183845" y="2941536"/>
                    </a:lnTo>
                    <a:close/>
                  </a:path>
                  <a:path w="827404" h="3034029">
                    <a:moveTo>
                      <a:pt x="183845" y="2206142"/>
                    </a:moveTo>
                    <a:lnTo>
                      <a:pt x="91922" y="2206142"/>
                    </a:lnTo>
                    <a:lnTo>
                      <a:pt x="0" y="2206142"/>
                    </a:lnTo>
                    <a:lnTo>
                      <a:pt x="0" y="2389987"/>
                    </a:lnTo>
                    <a:lnTo>
                      <a:pt x="0" y="2849613"/>
                    </a:lnTo>
                    <a:lnTo>
                      <a:pt x="91922" y="2849613"/>
                    </a:lnTo>
                    <a:lnTo>
                      <a:pt x="183845" y="2849600"/>
                    </a:lnTo>
                    <a:lnTo>
                      <a:pt x="183845" y="2757678"/>
                    </a:lnTo>
                    <a:lnTo>
                      <a:pt x="91922" y="2757678"/>
                    </a:lnTo>
                    <a:lnTo>
                      <a:pt x="91922" y="2665768"/>
                    </a:lnTo>
                    <a:lnTo>
                      <a:pt x="183845" y="2665768"/>
                    </a:lnTo>
                    <a:lnTo>
                      <a:pt x="183845" y="2573845"/>
                    </a:lnTo>
                    <a:lnTo>
                      <a:pt x="91922" y="2573845"/>
                    </a:lnTo>
                    <a:lnTo>
                      <a:pt x="91922" y="2389987"/>
                    </a:lnTo>
                    <a:lnTo>
                      <a:pt x="91922" y="2298065"/>
                    </a:lnTo>
                    <a:lnTo>
                      <a:pt x="183845" y="2298065"/>
                    </a:lnTo>
                    <a:lnTo>
                      <a:pt x="183845" y="2206142"/>
                    </a:lnTo>
                    <a:close/>
                  </a:path>
                  <a:path w="827404" h="3034029">
                    <a:moveTo>
                      <a:pt x="183845" y="1838452"/>
                    </a:moveTo>
                    <a:lnTo>
                      <a:pt x="91922" y="1838452"/>
                    </a:lnTo>
                    <a:lnTo>
                      <a:pt x="91922" y="2022297"/>
                    </a:lnTo>
                    <a:lnTo>
                      <a:pt x="183845" y="2022297"/>
                    </a:lnTo>
                    <a:lnTo>
                      <a:pt x="183845" y="1838452"/>
                    </a:lnTo>
                    <a:close/>
                  </a:path>
                  <a:path w="827404" h="3034029">
                    <a:moveTo>
                      <a:pt x="183845" y="1103071"/>
                    </a:moveTo>
                    <a:lnTo>
                      <a:pt x="91922" y="1103071"/>
                    </a:lnTo>
                    <a:lnTo>
                      <a:pt x="91922" y="1378839"/>
                    </a:lnTo>
                    <a:lnTo>
                      <a:pt x="183845" y="1378839"/>
                    </a:lnTo>
                    <a:lnTo>
                      <a:pt x="183845" y="1103071"/>
                    </a:lnTo>
                    <a:close/>
                  </a:path>
                  <a:path w="827404" h="3034029">
                    <a:moveTo>
                      <a:pt x="183845" y="735380"/>
                    </a:moveTo>
                    <a:lnTo>
                      <a:pt x="91922" y="735380"/>
                    </a:lnTo>
                    <a:lnTo>
                      <a:pt x="91922" y="919238"/>
                    </a:lnTo>
                    <a:lnTo>
                      <a:pt x="183845" y="919238"/>
                    </a:lnTo>
                    <a:lnTo>
                      <a:pt x="183845" y="735380"/>
                    </a:lnTo>
                    <a:close/>
                  </a:path>
                  <a:path w="827404" h="3034029">
                    <a:moveTo>
                      <a:pt x="275780" y="2941536"/>
                    </a:moveTo>
                    <a:lnTo>
                      <a:pt x="183857" y="2941536"/>
                    </a:lnTo>
                    <a:lnTo>
                      <a:pt x="183857" y="3033458"/>
                    </a:lnTo>
                    <a:lnTo>
                      <a:pt x="275780" y="3033458"/>
                    </a:lnTo>
                    <a:lnTo>
                      <a:pt x="275780" y="2941536"/>
                    </a:lnTo>
                    <a:close/>
                  </a:path>
                  <a:path w="827404" h="3034029">
                    <a:moveTo>
                      <a:pt x="275780" y="2389987"/>
                    </a:moveTo>
                    <a:lnTo>
                      <a:pt x="183857" y="2389987"/>
                    </a:lnTo>
                    <a:lnTo>
                      <a:pt x="183857" y="2481910"/>
                    </a:lnTo>
                    <a:lnTo>
                      <a:pt x="275780" y="2481910"/>
                    </a:lnTo>
                    <a:lnTo>
                      <a:pt x="275780" y="2389987"/>
                    </a:lnTo>
                    <a:close/>
                  </a:path>
                  <a:path w="827404" h="3034029">
                    <a:moveTo>
                      <a:pt x="275780" y="2022297"/>
                    </a:moveTo>
                    <a:lnTo>
                      <a:pt x="183857" y="2022297"/>
                    </a:lnTo>
                    <a:lnTo>
                      <a:pt x="183857" y="2114219"/>
                    </a:lnTo>
                    <a:lnTo>
                      <a:pt x="275780" y="2114219"/>
                    </a:lnTo>
                    <a:lnTo>
                      <a:pt x="275780" y="2022297"/>
                    </a:lnTo>
                    <a:close/>
                  </a:path>
                  <a:path w="827404" h="3034029">
                    <a:moveTo>
                      <a:pt x="367703" y="1746529"/>
                    </a:moveTo>
                    <a:lnTo>
                      <a:pt x="275780" y="1746529"/>
                    </a:lnTo>
                    <a:lnTo>
                      <a:pt x="275780" y="1654606"/>
                    </a:lnTo>
                    <a:lnTo>
                      <a:pt x="183857" y="1654606"/>
                    </a:lnTo>
                    <a:lnTo>
                      <a:pt x="183857" y="1838452"/>
                    </a:lnTo>
                    <a:lnTo>
                      <a:pt x="275780" y="1838452"/>
                    </a:lnTo>
                    <a:lnTo>
                      <a:pt x="275780" y="1930374"/>
                    </a:lnTo>
                    <a:lnTo>
                      <a:pt x="367703" y="1930374"/>
                    </a:lnTo>
                    <a:lnTo>
                      <a:pt x="367703" y="1746529"/>
                    </a:lnTo>
                    <a:close/>
                  </a:path>
                  <a:path w="827404" h="3034029">
                    <a:moveTo>
                      <a:pt x="367703" y="1562684"/>
                    </a:moveTo>
                    <a:lnTo>
                      <a:pt x="275780" y="1562684"/>
                    </a:lnTo>
                    <a:lnTo>
                      <a:pt x="275780" y="1654606"/>
                    </a:lnTo>
                    <a:lnTo>
                      <a:pt x="367703" y="1654606"/>
                    </a:lnTo>
                    <a:lnTo>
                      <a:pt x="367703" y="1562684"/>
                    </a:lnTo>
                    <a:close/>
                  </a:path>
                  <a:path w="827404" h="3034029">
                    <a:moveTo>
                      <a:pt x="459625" y="2941536"/>
                    </a:moveTo>
                    <a:lnTo>
                      <a:pt x="367703" y="2941536"/>
                    </a:lnTo>
                    <a:lnTo>
                      <a:pt x="367703" y="3033458"/>
                    </a:lnTo>
                    <a:lnTo>
                      <a:pt x="459625" y="3033458"/>
                    </a:lnTo>
                    <a:lnTo>
                      <a:pt x="459625" y="2941536"/>
                    </a:lnTo>
                    <a:close/>
                  </a:path>
                  <a:path w="827404" h="3034029">
                    <a:moveTo>
                      <a:pt x="459625" y="2022297"/>
                    </a:moveTo>
                    <a:lnTo>
                      <a:pt x="367703" y="2022297"/>
                    </a:lnTo>
                    <a:lnTo>
                      <a:pt x="367703" y="2114219"/>
                    </a:lnTo>
                    <a:lnTo>
                      <a:pt x="459625" y="2114219"/>
                    </a:lnTo>
                    <a:lnTo>
                      <a:pt x="459625" y="2022297"/>
                    </a:lnTo>
                    <a:close/>
                  </a:path>
                  <a:path w="827404" h="3034029">
                    <a:moveTo>
                      <a:pt x="551548" y="1930374"/>
                    </a:moveTo>
                    <a:lnTo>
                      <a:pt x="459625" y="1930374"/>
                    </a:lnTo>
                    <a:lnTo>
                      <a:pt x="459625" y="2022297"/>
                    </a:lnTo>
                    <a:lnTo>
                      <a:pt x="551548" y="2022297"/>
                    </a:lnTo>
                    <a:lnTo>
                      <a:pt x="551548" y="1930374"/>
                    </a:lnTo>
                    <a:close/>
                  </a:path>
                  <a:path w="827404" h="3034029">
                    <a:moveTo>
                      <a:pt x="643470" y="2389987"/>
                    </a:moveTo>
                    <a:lnTo>
                      <a:pt x="551548" y="2389987"/>
                    </a:lnTo>
                    <a:lnTo>
                      <a:pt x="551548" y="2114219"/>
                    </a:lnTo>
                    <a:lnTo>
                      <a:pt x="459625" y="2114219"/>
                    </a:lnTo>
                    <a:lnTo>
                      <a:pt x="459625" y="2206142"/>
                    </a:lnTo>
                    <a:lnTo>
                      <a:pt x="367703" y="2206142"/>
                    </a:lnTo>
                    <a:lnTo>
                      <a:pt x="367703" y="2114219"/>
                    </a:lnTo>
                    <a:lnTo>
                      <a:pt x="275780" y="2114219"/>
                    </a:lnTo>
                    <a:lnTo>
                      <a:pt x="275780" y="2206142"/>
                    </a:lnTo>
                    <a:lnTo>
                      <a:pt x="183857" y="2206142"/>
                    </a:lnTo>
                    <a:lnTo>
                      <a:pt x="183857" y="2298065"/>
                    </a:lnTo>
                    <a:lnTo>
                      <a:pt x="275780" y="2298065"/>
                    </a:lnTo>
                    <a:lnTo>
                      <a:pt x="367703" y="2298065"/>
                    </a:lnTo>
                    <a:lnTo>
                      <a:pt x="367703" y="2389987"/>
                    </a:lnTo>
                    <a:lnTo>
                      <a:pt x="367703" y="2573845"/>
                    </a:lnTo>
                    <a:lnTo>
                      <a:pt x="275780" y="2573845"/>
                    </a:lnTo>
                    <a:lnTo>
                      <a:pt x="183857" y="2573845"/>
                    </a:lnTo>
                    <a:lnTo>
                      <a:pt x="183857" y="2757690"/>
                    </a:lnTo>
                    <a:lnTo>
                      <a:pt x="275780" y="2757690"/>
                    </a:lnTo>
                    <a:lnTo>
                      <a:pt x="275780" y="2665768"/>
                    </a:lnTo>
                    <a:lnTo>
                      <a:pt x="367703" y="2665768"/>
                    </a:lnTo>
                    <a:lnTo>
                      <a:pt x="367703" y="2849613"/>
                    </a:lnTo>
                    <a:lnTo>
                      <a:pt x="459625" y="2849613"/>
                    </a:lnTo>
                    <a:lnTo>
                      <a:pt x="459625" y="2941523"/>
                    </a:lnTo>
                    <a:lnTo>
                      <a:pt x="551548" y="2941523"/>
                    </a:lnTo>
                    <a:lnTo>
                      <a:pt x="551548" y="2849600"/>
                    </a:lnTo>
                    <a:lnTo>
                      <a:pt x="459625" y="2849600"/>
                    </a:lnTo>
                    <a:lnTo>
                      <a:pt x="459625" y="2757690"/>
                    </a:lnTo>
                    <a:lnTo>
                      <a:pt x="551548" y="2757690"/>
                    </a:lnTo>
                    <a:lnTo>
                      <a:pt x="551548" y="2849600"/>
                    </a:lnTo>
                    <a:lnTo>
                      <a:pt x="643470" y="2849600"/>
                    </a:lnTo>
                    <a:lnTo>
                      <a:pt x="643470" y="2757678"/>
                    </a:lnTo>
                    <a:lnTo>
                      <a:pt x="551548" y="2757678"/>
                    </a:lnTo>
                    <a:lnTo>
                      <a:pt x="551548" y="2573845"/>
                    </a:lnTo>
                    <a:lnTo>
                      <a:pt x="459625" y="2573845"/>
                    </a:lnTo>
                    <a:lnTo>
                      <a:pt x="459625" y="2481910"/>
                    </a:lnTo>
                    <a:lnTo>
                      <a:pt x="551548" y="2481910"/>
                    </a:lnTo>
                    <a:lnTo>
                      <a:pt x="643470" y="2481910"/>
                    </a:lnTo>
                    <a:lnTo>
                      <a:pt x="643470" y="2389987"/>
                    </a:lnTo>
                    <a:close/>
                  </a:path>
                  <a:path w="827404" h="3034029">
                    <a:moveTo>
                      <a:pt x="643470" y="2022297"/>
                    </a:moveTo>
                    <a:lnTo>
                      <a:pt x="551548" y="2022297"/>
                    </a:lnTo>
                    <a:lnTo>
                      <a:pt x="551548" y="2114219"/>
                    </a:lnTo>
                    <a:lnTo>
                      <a:pt x="643470" y="2114219"/>
                    </a:lnTo>
                    <a:lnTo>
                      <a:pt x="643470" y="2022297"/>
                    </a:lnTo>
                    <a:close/>
                  </a:path>
                  <a:path w="827404" h="3034029">
                    <a:moveTo>
                      <a:pt x="643470" y="919238"/>
                    </a:moveTo>
                    <a:lnTo>
                      <a:pt x="551548" y="919238"/>
                    </a:lnTo>
                    <a:lnTo>
                      <a:pt x="551548" y="1011148"/>
                    </a:lnTo>
                    <a:lnTo>
                      <a:pt x="459625" y="1011148"/>
                    </a:lnTo>
                    <a:lnTo>
                      <a:pt x="459625" y="919238"/>
                    </a:lnTo>
                    <a:lnTo>
                      <a:pt x="367703" y="919238"/>
                    </a:lnTo>
                    <a:lnTo>
                      <a:pt x="367703" y="1011161"/>
                    </a:lnTo>
                    <a:lnTo>
                      <a:pt x="367703" y="1103071"/>
                    </a:lnTo>
                    <a:lnTo>
                      <a:pt x="275780" y="1103071"/>
                    </a:lnTo>
                    <a:lnTo>
                      <a:pt x="275780" y="1011161"/>
                    </a:lnTo>
                    <a:lnTo>
                      <a:pt x="367703" y="1011161"/>
                    </a:lnTo>
                    <a:lnTo>
                      <a:pt x="367703" y="919238"/>
                    </a:lnTo>
                    <a:lnTo>
                      <a:pt x="367703" y="735380"/>
                    </a:lnTo>
                    <a:lnTo>
                      <a:pt x="275780" y="735380"/>
                    </a:lnTo>
                    <a:lnTo>
                      <a:pt x="275780" y="827303"/>
                    </a:lnTo>
                    <a:lnTo>
                      <a:pt x="183857" y="827303"/>
                    </a:lnTo>
                    <a:lnTo>
                      <a:pt x="183857" y="1195006"/>
                    </a:lnTo>
                    <a:lnTo>
                      <a:pt x="275780" y="1195006"/>
                    </a:lnTo>
                    <a:lnTo>
                      <a:pt x="367703" y="1194993"/>
                    </a:lnTo>
                    <a:lnTo>
                      <a:pt x="367703" y="1378839"/>
                    </a:lnTo>
                    <a:lnTo>
                      <a:pt x="275780" y="1378839"/>
                    </a:lnTo>
                    <a:lnTo>
                      <a:pt x="275780" y="1286916"/>
                    </a:lnTo>
                    <a:lnTo>
                      <a:pt x="183857" y="1286916"/>
                    </a:lnTo>
                    <a:lnTo>
                      <a:pt x="183857" y="1562684"/>
                    </a:lnTo>
                    <a:lnTo>
                      <a:pt x="275780" y="1562684"/>
                    </a:lnTo>
                    <a:lnTo>
                      <a:pt x="275780" y="1470761"/>
                    </a:lnTo>
                    <a:lnTo>
                      <a:pt x="367703" y="1470761"/>
                    </a:lnTo>
                    <a:lnTo>
                      <a:pt x="367703" y="1378851"/>
                    </a:lnTo>
                    <a:lnTo>
                      <a:pt x="459625" y="1378851"/>
                    </a:lnTo>
                    <a:lnTo>
                      <a:pt x="459625" y="1286916"/>
                    </a:lnTo>
                    <a:lnTo>
                      <a:pt x="551548" y="1286916"/>
                    </a:lnTo>
                    <a:lnTo>
                      <a:pt x="551548" y="1011161"/>
                    </a:lnTo>
                    <a:lnTo>
                      <a:pt x="643470" y="1011161"/>
                    </a:lnTo>
                    <a:lnTo>
                      <a:pt x="643470" y="919238"/>
                    </a:lnTo>
                    <a:close/>
                  </a:path>
                  <a:path w="827404" h="3034029">
                    <a:moveTo>
                      <a:pt x="643470" y="183845"/>
                    </a:moveTo>
                    <a:lnTo>
                      <a:pt x="551548" y="183845"/>
                    </a:lnTo>
                    <a:lnTo>
                      <a:pt x="459625" y="183845"/>
                    </a:lnTo>
                    <a:lnTo>
                      <a:pt x="367703" y="183845"/>
                    </a:lnTo>
                    <a:lnTo>
                      <a:pt x="367703" y="275767"/>
                    </a:lnTo>
                    <a:lnTo>
                      <a:pt x="367703" y="459613"/>
                    </a:lnTo>
                    <a:lnTo>
                      <a:pt x="459625" y="459613"/>
                    </a:lnTo>
                    <a:lnTo>
                      <a:pt x="551548" y="459613"/>
                    </a:lnTo>
                    <a:lnTo>
                      <a:pt x="643470" y="459613"/>
                    </a:lnTo>
                    <a:lnTo>
                      <a:pt x="643470" y="275767"/>
                    </a:lnTo>
                    <a:lnTo>
                      <a:pt x="643470" y="183845"/>
                    </a:lnTo>
                    <a:close/>
                  </a:path>
                  <a:path w="827404" h="3034029">
                    <a:moveTo>
                      <a:pt x="735393" y="2941536"/>
                    </a:moveTo>
                    <a:lnTo>
                      <a:pt x="643470" y="2941536"/>
                    </a:lnTo>
                    <a:lnTo>
                      <a:pt x="643470" y="3033458"/>
                    </a:lnTo>
                    <a:lnTo>
                      <a:pt x="735393" y="3033458"/>
                    </a:lnTo>
                    <a:lnTo>
                      <a:pt x="735393" y="2941536"/>
                    </a:lnTo>
                    <a:close/>
                  </a:path>
                  <a:path w="827404" h="3034029">
                    <a:moveTo>
                      <a:pt x="735393" y="2481910"/>
                    </a:moveTo>
                    <a:lnTo>
                      <a:pt x="643470" y="2481910"/>
                    </a:lnTo>
                    <a:lnTo>
                      <a:pt x="643470" y="2573845"/>
                    </a:lnTo>
                    <a:lnTo>
                      <a:pt x="735393" y="2573845"/>
                    </a:lnTo>
                    <a:lnTo>
                      <a:pt x="735393" y="2481910"/>
                    </a:lnTo>
                    <a:close/>
                  </a:path>
                  <a:path w="827404" h="3034029">
                    <a:moveTo>
                      <a:pt x="735393" y="2114219"/>
                    </a:moveTo>
                    <a:lnTo>
                      <a:pt x="643470" y="2114219"/>
                    </a:lnTo>
                    <a:lnTo>
                      <a:pt x="643470" y="2206142"/>
                    </a:lnTo>
                    <a:lnTo>
                      <a:pt x="735393" y="2206142"/>
                    </a:lnTo>
                    <a:lnTo>
                      <a:pt x="735393" y="2114219"/>
                    </a:lnTo>
                    <a:close/>
                  </a:path>
                  <a:path w="827404" h="3034029">
                    <a:moveTo>
                      <a:pt x="735393" y="1654606"/>
                    </a:moveTo>
                    <a:lnTo>
                      <a:pt x="643470" y="1654606"/>
                    </a:lnTo>
                    <a:lnTo>
                      <a:pt x="551548" y="1654606"/>
                    </a:lnTo>
                    <a:lnTo>
                      <a:pt x="551548" y="1746529"/>
                    </a:lnTo>
                    <a:lnTo>
                      <a:pt x="643470" y="1746529"/>
                    </a:lnTo>
                    <a:lnTo>
                      <a:pt x="643470" y="2022297"/>
                    </a:lnTo>
                    <a:lnTo>
                      <a:pt x="735393" y="2022297"/>
                    </a:lnTo>
                    <a:lnTo>
                      <a:pt x="735393" y="1654606"/>
                    </a:lnTo>
                    <a:close/>
                  </a:path>
                  <a:path w="827404" h="3034029">
                    <a:moveTo>
                      <a:pt x="735393" y="827303"/>
                    </a:moveTo>
                    <a:lnTo>
                      <a:pt x="643470" y="827303"/>
                    </a:lnTo>
                    <a:lnTo>
                      <a:pt x="643470" y="919238"/>
                    </a:lnTo>
                    <a:lnTo>
                      <a:pt x="735393" y="919238"/>
                    </a:lnTo>
                    <a:lnTo>
                      <a:pt x="735393" y="827303"/>
                    </a:lnTo>
                    <a:close/>
                  </a:path>
                  <a:path w="827404" h="3034029">
                    <a:moveTo>
                      <a:pt x="827316" y="919238"/>
                    </a:moveTo>
                    <a:lnTo>
                      <a:pt x="735393" y="919238"/>
                    </a:lnTo>
                    <a:lnTo>
                      <a:pt x="735393" y="1103071"/>
                    </a:lnTo>
                    <a:lnTo>
                      <a:pt x="643470" y="1103071"/>
                    </a:lnTo>
                    <a:lnTo>
                      <a:pt x="643470" y="1470761"/>
                    </a:lnTo>
                    <a:lnTo>
                      <a:pt x="551548" y="1470761"/>
                    </a:lnTo>
                    <a:lnTo>
                      <a:pt x="459625" y="1470761"/>
                    </a:lnTo>
                    <a:lnTo>
                      <a:pt x="367703" y="1470761"/>
                    </a:lnTo>
                    <a:lnTo>
                      <a:pt x="367703" y="1562684"/>
                    </a:lnTo>
                    <a:lnTo>
                      <a:pt x="459625" y="1562684"/>
                    </a:lnTo>
                    <a:lnTo>
                      <a:pt x="459625" y="1654606"/>
                    </a:lnTo>
                    <a:lnTo>
                      <a:pt x="551548" y="1654606"/>
                    </a:lnTo>
                    <a:lnTo>
                      <a:pt x="551548" y="1562684"/>
                    </a:lnTo>
                    <a:lnTo>
                      <a:pt x="643470" y="1562684"/>
                    </a:lnTo>
                    <a:lnTo>
                      <a:pt x="735393" y="1562684"/>
                    </a:lnTo>
                    <a:lnTo>
                      <a:pt x="735393" y="1286929"/>
                    </a:lnTo>
                    <a:lnTo>
                      <a:pt x="827316" y="1286929"/>
                    </a:lnTo>
                    <a:lnTo>
                      <a:pt x="827316" y="919238"/>
                    </a:lnTo>
                    <a:close/>
                  </a:path>
                  <a:path w="827404" h="3034029">
                    <a:moveTo>
                      <a:pt x="827316" y="0"/>
                    </a:moveTo>
                    <a:lnTo>
                      <a:pt x="735393" y="0"/>
                    </a:lnTo>
                    <a:lnTo>
                      <a:pt x="735393" y="91922"/>
                    </a:lnTo>
                    <a:lnTo>
                      <a:pt x="735393" y="275767"/>
                    </a:lnTo>
                    <a:lnTo>
                      <a:pt x="735393" y="551535"/>
                    </a:lnTo>
                    <a:lnTo>
                      <a:pt x="643470" y="551535"/>
                    </a:lnTo>
                    <a:lnTo>
                      <a:pt x="551548" y="551535"/>
                    </a:lnTo>
                    <a:lnTo>
                      <a:pt x="459625" y="551535"/>
                    </a:lnTo>
                    <a:lnTo>
                      <a:pt x="367703" y="551535"/>
                    </a:lnTo>
                    <a:lnTo>
                      <a:pt x="275780" y="551535"/>
                    </a:lnTo>
                    <a:lnTo>
                      <a:pt x="275780" y="275767"/>
                    </a:lnTo>
                    <a:lnTo>
                      <a:pt x="275780" y="91922"/>
                    </a:lnTo>
                    <a:lnTo>
                      <a:pt x="367703" y="91922"/>
                    </a:lnTo>
                    <a:lnTo>
                      <a:pt x="459625" y="91922"/>
                    </a:lnTo>
                    <a:lnTo>
                      <a:pt x="551548" y="91922"/>
                    </a:lnTo>
                    <a:lnTo>
                      <a:pt x="643470" y="91922"/>
                    </a:lnTo>
                    <a:lnTo>
                      <a:pt x="735393" y="91922"/>
                    </a:lnTo>
                    <a:lnTo>
                      <a:pt x="735393" y="0"/>
                    </a:lnTo>
                    <a:lnTo>
                      <a:pt x="183857" y="0"/>
                    </a:lnTo>
                    <a:lnTo>
                      <a:pt x="183857" y="275767"/>
                    </a:lnTo>
                    <a:lnTo>
                      <a:pt x="183857" y="643458"/>
                    </a:lnTo>
                    <a:lnTo>
                      <a:pt x="275780" y="643458"/>
                    </a:lnTo>
                    <a:lnTo>
                      <a:pt x="367703" y="643458"/>
                    </a:lnTo>
                    <a:lnTo>
                      <a:pt x="827316" y="643458"/>
                    </a:lnTo>
                    <a:lnTo>
                      <a:pt x="827316" y="275767"/>
                    </a:lnTo>
                    <a:lnTo>
                      <a:pt x="827316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bject 15"/>
              <p:cNvSpPr/>
              <p:nvPr/>
            </p:nvSpPr>
            <p:spPr>
              <a:xfrm>
                <a:off x="3184309" y="4256938"/>
                <a:ext cx="92075" cy="1930400"/>
              </a:xfrm>
              <a:custGeom>
                <a:avLst/>
                <a:gdLst/>
                <a:ahLst/>
                <a:cxnLst/>
                <a:rect l="l" t="t" r="r" b="b"/>
                <a:pathLst>
                  <a:path w="92075" h="1930400">
                    <a:moveTo>
                      <a:pt x="91922" y="1838439"/>
                    </a:moveTo>
                    <a:lnTo>
                      <a:pt x="0" y="1838439"/>
                    </a:lnTo>
                    <a:lnTo>
                      <a:pt x="0" y="1930361"/>
                    </a:lnTo>
                    <a:lnTo>
                      <a:pt x="91922" y="1930361"/>
                    </a:lnTo>
                    <a:lnTo>
                      <a:pt x="91922" y="1838439"/>
                    </a:lnTo>
                    <a:close/>
                  </a:path>
                  <a:path w="92075" h="1930400">
                    <a:moveTo>
                      <a:pt x="91922" y="1378826"/>
                    </a:moveTo>
                    <a:lnTo>
                      <a:pt x="0" y="1378826"/>
                    </a:lnTo>
                    <a:lnTo>
                      <a:pt x="0" y="1470748"/>
                    </a:lnTo>
                    <a:lnTo>
                      <a:pt x="91922" y="1470748"/>
                    </a:lnTo>
                    <a:lnTo>
                      <a:pt x="91922" y="1378826"/>
                    </a:lnTo>
                    <a:close/>
                  </a:path>
                  <a:path w="92075" h="1930400">
                    <a:moveTo>
                      <a:pt x="91922" y="643445"/>
                    </a:moveTo>
                    <a:lnTo>
                      <a:pt x="0" y="643445"/>
                    </a:lnTo>
                    <a:lnTo>
                      <a:pt x="0" y="1103058"/>
                    </a:lnTo>
                    <a:lnTo>
                      <a:pt x="0" y="1286903"/>
                    </a:lnTo>
                    <a:lnTo>
                      <a:pt x="91922" y="1286903"/>
                    </a:lnTo>
                    <a:lnTo>
                      <a:pt x="91922" y="1103058"/>
                    </a:lnTo>
                    <a:lnTo>
                      <a:pt x="91922" y="643445"/>
                    </a:lnTo>
                    <a:close/>
                  </a:path>
                  <a:path w="92075" h="1930400">
                    <a:moveTo>
                      <a:pt x="91922" y="0"/>
                    </a:moveTo>
                    <a:lnTo>
                      <a:pt x="0" y="0"/>
                    </a:lnTo>
                    <a:lnTo>
                      <a:pt x="0" y="367690"/>
                    </a:lnTo>
                    <a:lnTo>
                      <a:pt x="91922" y="367690"/>
                    </a:lnTo>
                    <a:lnTo>
                      <a:pt x="91922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2" name="object 16"/>
            <p:cNvSpPr/>
            <p:nvPr/>
          </p:nvSpPr>
          <p:spPr>
            <a:xfrm>
              <a:off x="242773" y="5727687"/>
              <a:ext cx="643890" cy="643890"/>
            </a:xfrm>
            <a:custGeom>
              <a:avLst/>
              <a:gdLst/>
              <a:ahLst/>
              <a:cxnLst/>
              <a:rect l="l" t="t" r="r" b="b"/>
              <a:pathLst>
                <a:path w="643890" h="643889">
                  <a:moveTo>
                    <a:pt x="459613" y="183857"/>
                  </a:moveTo>
                  <a:lnTo>
                    <a:pt x="367690" y="183857"/>
                  </a:lnTo>
                  <a:lnTo>
                    <a:pt x="275767" y="183857"/>
                  </a:lnTo>
                  <a:lnTo>
                    <a:pt x="183845" y="183857"/>
                  </a:lnTo>
                  <a:lnTo>
                    <a:pt x="183845" y="459625"/>
                  </a:lnTo>
                  <a:lnTo>
                    <a:pt x="275767" y="459625"/>
                  </a:lnTo>
                  <a:lnTo>
                    <a:pt x="367690" y="459625"/>
                  </a:lnTo>
                  <a:lnTo>
                    <a:pt x="459613" y="459625"/>
                  </a:lnTo>
                  <a:lnTo>
                    <a:pt x="459613" y="183857"/>
                  </a:lnTo>
                  <a:close/>
                </a:path>
                <a:path w="643890" h="643889">
                  <a:moveTo>
                    <a:pt x="643458" y="0"/>
                  </a:moveTo>
                  <a:lnTo>
                    <a:pt x="551535" y="0"/>
                  </a:lnTo>
                  <a:lnTo>
                    <a:pt x="551535" y="91922"/>
                  </a:lnTo>
                  <a:lnTo>
                    <a:pt x="551535" y="459613"/>
                  </a:lnTo>
                  <a:lnTo>
                    <a:pt x="551535" y="551548"/>
                  </a:lnTo>
                  <a:lnTo>
                    <a:pt x="459613" y="551548"/>
                  </a:lnTo>
                  <a:lnTo>
                    <a:pt x="367690" y="551548"/>
                  </a:lnTo>
                  <a:lnTo>
                    <a:pt x="275767" y="551548"/>
                  </a:lnTo>
                  <a:lnTo>
                    <a:pt x="183845" y="551548"/>
                  </a:lnTo>
                  <a:lnTo>
                    <a:pt x="91922" y="551548"/>
                  </a:lnTo>
                  <a:lnTo>
                    <a:pt x="91922" y="459625"/>
                  </a:lnTo>
                  <a:lnTo>
                    <a:pt x="91922" y="91922"/>
                  </a:lnTo>
                  <a:lnTo>
                    <a:pt x="183845" y="91922"/>
                  </a:lnTo>
                  <a:lnTo>
                    <a:pt x="275767" y="91922"/>
                  </a:lnTo>
                  <a:lnTo>
                    <a:pt x="367690" y="91922"/>
                  </a:lnTo>
                  <a:lnTo>
                    <a:pt x="459613" y="91922"/>
                  </a:lnTo>
                  <a:lnTo>
                    <a:pt x="551535" y="91922"/>
                  </a:lnTo>
                  <a:lnTo>
                    <a:pt x="551535" y="0"/>
                  </a:lnTo>
                  <a:lnTo>
                    <a:pt x="0" y="0"/>
                  </a:lnTo>
                  <a:lnTo>
                    <a:pt x="0" y="459613"/>
                  </a:lnTo>
                  <a:lnTo>
                    <a:pt x="0" y="643458"/>
                  </a:lnTo>
                  <a:lnTo>
                    <a:pt x="91922" y="643458"/>
                  </a:lnTo>
                  <a:lnTo>
                    <a:pt x="183845" y="643470"/>
                  </a:lnTo>
                  <a:lnTo>
                    <a:pt x="275767" y="643470"/>
                  </a:lnTo>
                  <a:lnTo>
                    <a:pt x="367690" y="643470"/>
                  </a:lnTo>
                  <a:lnTo>
                    <a:pt x="459613" y="643470"/>
                  </a:lnTo>
                  <a:lnTo>
                    <a:pt x="551535" y="643470"/>
                  </a:lnTo>
                  <a:lnTo>
                    <a:pt x="643458" y="643458"/>
                  </a:lnTo>
                  <a:lnTo>
                    <a:pt x="643458" y="459625"/>
                  </a:lnTo>
                  <a:lnTo>
                    <a:pt x="643458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3115312" y="4906279"/>
            <a:ext cx="1440000" cy="1440000"/>
            <a:chOff x="4204182" y="3430904"/>
            <a:chExt cx="2880995" cy="2881135"/>
          </a:xfrm>
        </p:grpSpPr>
        <p:sp>
          <p:nvSpPr>
            <p:cNvPr id="89" name="object 17"/>
            <p:cNvSpPr/>
            <p:nvPr/>
          </p:nvSpPr>
          <p:spPr>
            <a:xfrm>
              <a:off x="4204182" y="3430904"/>
              <a:ext cx="807085" cy="807085"/>
            </a:xfrm>
            <a:custGeom>
              <a:avLst/>
              <a:gdLst/>
              <a:ahLst/>
              <a:cxnLst/>
              <a:rect l="l" t="t" r="r" b="b"/>
              <a:pathLst>
                <a:path w="807085" h="807085">
                  <a:moveTo>
                    <a:pt x="230441" y="0"/>
                  </a:moveTo>
                  <a:lnTo>
                    <a:pt x="115227" y="0"/>
                  </a:lnTo>
                  <a:lnTo>
                    <a:pt x="0" y="0"/>
                  </a:lnTo>
                  <a:lnTo>
                    <a:pt x="0" y="691349"/>
                  </a:lnTo>
                  <a:lnTo>
                    <a:pt x="0" y="806577"/>
                  </a:lnTo>
                  <a:lnTo>
                    <a:pt x="115227" y="806577"/>
                  </a:lnTo>
                  <a:lnTo>
                    <a:pt x="230441" y="806577"/>
                  </a:lnTo>
                  <a:lnTo>
                    <a:pt x="230441" y="691349"/>
                  </a:lnTo>
                  <a:lnTo>
                    <a:pt x="115227" y="691349"/>
                  </a:lnTo>
                  <a:lnTo>
                    <a:pt x="115227" y="115227"/>
                  </a:lnTo>
                  <a:lnTo>
                    <a:pt x="230441" y="115227"/>
                  </a:lnTo>
                  <a:lnTo>
                    <a:pt x="230441" y="0"/>
                  </a:lnTo>
                  <a:close/>
                </a:path>
                <a:path w="807085" h="807085">
                  <a:moveTo>
                    <a:pt x="576122" y="691349"/>
                  </a:moveTo>
                  <a:lnTo>
                    <a:pt x="460908" y="691349"/>
                  </a:lnTo>
                  <a:lnTo>
                    <a:pt x="345681" y="691349"/>
                  </a:lnTo>
                  <a:lnTo>
                    <a:pt x="230454" y="691349"/>
                  </a:lnTo>
                  <a:lnTo>
                    <a:pt x="230454" y="806577"/>
                  </a:lnTo>
                  <a:lnTo>
                    <a:pt x="345681" y="806577"/>
                  </a:lnTo>
                  <a:lnTo>
                    <a:pt x="460908" y="806577"/>
                  </a:lnTo>
                  <a:lnTo>
                    <a:pt x="576122" y="806577"/>
                  </a:lnTo>
                  <a:lnTo>
                    <a:pt x="576122" y="691349"/>
                  </a:lnTo>
                  <a:close/>
                </a:path>
                <a:path w="807085" h="807085">
                  <a:moveTo>
                    <a:pt x="576122" y="230454"/>
                  </a:moveTo>
                  <a:lnTo>
                    <a:pt x="460908" y="230454"/>
                  </a:lnTo>
                  <a:lnTo>
                    <a:pt x="345681" y="230454"/>
                  </a:lnTo>
                  <a:lnTo>
                    <a:pt x="230454" y="230454"/>
                  </a:lnTo>
                  <a:lnTo>
                    <a:pt x="230454" y="576135"/>
                  </a:lnTo>
                  <a:lnTo>
                    <a:pt x="345681" y="576135"/>
                  </a:lnTo>
                  <a:lnTo>
                    <a:pt x="460908" y="576135"/>
                  </a:lnTo>
                  <a:lnTo>
                    <a:pt x="576122" y="576135"/>
                  </a:lnTo>
                  <a:lnTo>
                    <a:pt x="576122" y="230454"/>
                  </a:lnTo>
                  <a:close/>
                </a:path>
                <a:path w="807085" h="807085">
                  <a:moveTo>
                    <a:pt x="576122" y="0"/>
                  </a:moveTo>
                  <a:lnTo>
                    <a:pt x="460908" y="0"/>
                  </a:lnTo>
                  <a:lnTo>
                    <a:pt x="345681" y="0"/>
                  </a:lnTo>
                  <a:lnTo>
                    <a:pt x="230454" y="0"/>
                  </a:lnTo>
                  <a:lnTo>
                    <a:pt x="230454" y="115227"/>
                  </a:lnTo>
                  <a:lnTo>
                    <a:pt x="345681" y="115227"/>
                  </a:lnTo>
                  <a:lnTo>
                    <a:pt x="460908" y="115227"/>
                  </a:lnTo>
                  <a:lnTo>
                    <a:pt x="576122" y="115227"/>
                  </a:lnTo>
                  <a:lnTo>
                    <a:pt x="576122" y="0"/>
                  </a:lnTo>
                  <a:close/>
                </a:path>
                <a:path w="807085" h="807085">
                  <a:moveTo>
                    <a:pt x="806577" y="0"/>
                  </a:moveTo>
                  <a:lnTo>
                    <a:pt x="691362" y="0"/>
                  </a:lnTo>
                  <a:lnTo>
                    <a:pt x="576135" y="0"/>
                  </a:lnTo>
                  <a:lnTo>
                    <a:pt x="576135" y="115227"/>
                  </a:lnTo>
                  <a:lnTo>
                    <a:pt x="691349" y="115227"/>
                  </a:lnTo>
                  <a:lnTo>
                    <a:pt x="691349" y="691349"/>
                  </a:lnTo>
                  <a:lnTo>
                    <a:pt x="576135" y="691349"/>
                  </a:lnTo>
                  <a:lnTo>
                    <a:pt x="576135" y="806577"/>
                  </a:lnTo>
                  <a:lnTo>
                    <a:pt x="691349" y="806577"/>
                  </a:lnTo>
                  <a:lnTo>
                    <a:pt x="806577" y="806577"/>
                  </a:lnTo>
                  <a:lnTo>
                    <a:pt x="806577" y="691362"/>
                  </a:lnTo>
                  <a:lnTo>
                    <a:pt x="806577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0" name="object 18"/>
            <p:cNvGrpSpPr/>
            <p:nvPr/>
          </p:nvGrpSpPr>
          <p:grpSpPr>
            <a:xfrm>
              <a:off x="4204182" y="3430904"/>
              <a:ext cx="2880995" cy="2880995"/>
              <a:chOff x="4204182" y="3430904"/>
              <a:chExt cx="2880995" cy="2880995"/>
            </a:xfrm>
          </p:grpSpPr>
          <p:sp>
            <p:nvSpPr>
              <p:cNvPr id="96" name="object 19"/>
              <p:cNvSpPr/>
              <p:nvPr/>
            </p:nvSpPr>
            <p:spPr>
              <a:xfrm>
                <a:off x="4204182" y="3430904"/>
                <a:ext cx="1728470" cy="2880995"/>
              </a:xfrm>
              <a:custGeom>
                <a:avLst/>
                <a:gdLst/>
                <a:ahLst/>
                <a:cxnLst/>
                <a:rect l="l" t="t" r="r" b="b"/>
                <a:pathLst>
                  <a:path w="1728470" h="2880995">
                    <a:moveTo>
                      <a:pt x="230441" y="1843595"/>
                    </a:moveTo>
                    <a:lnTo>
                      <a:pt x="115227" y="1843595"/>
                    </a:lnTo>
                    <a:lnTo>
                      <a:pt x="0" y="1843595"/>
                    </a:lnTo>
                    <a:lnTo>
                      <a:pt x="0" y="1958822"/>
                    </a:lnTo>
                    <a:lnTo>
                      <a:pt x="115227" y="1958822"/>
                    </a:lnTo>
                    <a:lnTo>
                      <a:pt x="230441" y="1958822"/>
                    </a:lnTo>
                    <a:lnTo>
                      <a:pt x="230441" y="1843595"/>
                    </a:lnTo>
                    <a:close/>
                  </a:path>
                  <a:path w="1728470" h="2880995">
                    <a:moveTo>
                      <a:pt x="230441" y="1613154"/>
                    </a:moveTo>
                    <a:lnTo>
                      <a:pt x="115227" y="1613154"/>
                    </a:lnTo>
                    <a:lnTo>
                      <a:pt x="0" y="1613154"/>
                    </a:lnTo>
                    <a:lnTo>
                      <a:pt x="0" y="1728381"/>
                    </a:lnTo>
                    <a:lnTo>
                      <a:pt x="115227" y="1728381"/>
                    </a:lnTo>
                    <a:lnTo>
                      <a:pt x="230441" y="1728381"/>
                    </a:lnTo>
                    <a:lnTo>
                      <a:pt x="230441" y="1613154"/>
                    </a:lnTo>
                    <a:close/>
                  </a:path>
                  <a:path w="1728470" h="2880995">
                    <a:moveTo>
                      <a:pt x="230441" y="1037018"/>
                    </a:moveTo>
                    <a:lnTo>
                      <a:pt x="115227" y="1037018"/>
                    </a:lnTo>
                    <a:lnTo>
                      <a:pt x="115227" y="921804"/>
                    </a:lnTo>
                    <a:lnTo>
                      <a:pt x="0" y="921804"/>
                    </a:lnTo>
                    <a:lnTo>
                      <a:pt x="0" y="1267472"/>
                    </a:lnTo>
                    <a:lnTo>
                      <a:pt x="0" y="1382712"/>
                    </a:lnTo>
                    <a:lnTo>
                      <a:pt x="115227" y="1382712"/>
                    </a:lnTo>
                    <a:lnTo>
                      <a:pt x="115227" y="1497926"/>
                    </a:lnTo>
                    <a:lnTo>
                      <a:pt x="230441" y="1497926"/>
                    </a:lnTo>
                    <a:lnTo>
                      <a:pt x="230441" y="1382699"/>
                    </a:lnTo>
                    <a:lnTo>
                      <a:pt x="115227" y="1382699"/>
                    </a:lnTo>
                    <a:lnTo>
                      <a:pt x="115227" y="1267472"/>
                    </a:lnTo>
                    <a:lnTo>
                      <a:pt x="115227" y="1152245"/>
                    </a:lnTo>
                    <a:lnTo>
                      <a:pt x="230441" y="1152245"/>
                    </a:lnTo>
                    <a:lnTo>
                      <a:pt x="230441" y="1037018"/>
                    </a:lnTo>
                    <a:close/>
                  </a:path>
                  <a:path w="1728470" h="2880995">
                    <a:moveTo>
                      <a:pt x="460908" y="1728368"/>
                    </a:moveTo>
                    <a:lnTo>
                      <a:pt x="345681" y="1728368"/>
                    </a:lnTo>
                    <a:lnTo>
                      <a:pt x="230454" y="1728368"/>
                    </a:lnTo>
                    <a:lnTo>
                      <a:pt x="230454" y="1843608"/>
                    </a:lnTo>
                    <a:lnTo>
                      <a:pt x="345681" y="1843608"/>
                    </a:lnTo>
                    <a:lnTo>
                      <a:pt x="460908" y="1843608"/>
                    </a:lnTo>
                    <a:lnTo>
                      <a:pt x="460908" y="1728368"/>
                    </a:lnTo>
                    <a:close/>
                  </a:path>
                  <a:path w="1728470" h="2880995">
                    <a:moveTo>
                      <a:pt x="460908" y="1037018"/>
                    </a:moveTo>
                    <a:lnTo>
                      <a:pt x="345681" y="1037018"/>
                    </a:lnTo>
                    <a:lnTo>
                      <a:pt x="345681" y="921804"/>
                    </a:lnTo>
                    <a:lnTo>
                      <a:pt x="230454" y="921804"/>
                    </a:lnTo>
                    <a:lnTo>
                      <a:pt x="230454" y="1037031"/>
                    </a:lnTo>
                    <a:lnTo>
                      <a:pt x="345681" y="1037031"/>
                    </a:lnTo>
                    <a:lnTo>
                      <a:pt x="345681" y="1152245"/>
                    </a:lnTo>
                    <a:lnTo>
                      <a:pt x="460908" y="1152245"/>
                    </a:lnTo>
                    <a:lnTo>
                      <a:pt x="460908" y="1037018"/>
                    </a:lnTo>
                    <a:close/>
                  </a:path>
                  <a:path w="1728470" h="2880995">
                    <a:moveTo>
                      <a:pt x="576122" y="1382699"/>
                    </a:moveTo>
                    <a:lnTo>
                      <a:pt x="460908" y="1382699"/>
                    </a:lnTo>
                    <a:lnTo>
                      <a:pt x="460908" y="1267472"/>
                    </a:lnTo>
                    <a:lnTo>
                      <a:pt x="345681" y="1267472"/>
                    </a:lnTo>
                    <a:lnTo>
                      <a:pt x="345681" y="1382699"/>
                    </a:lnTo>
                    <a:lnTo>
                      <a:pt x="230454" y="1382699"/>
                    </a:lnTo>
                    <a:lnTo>
                      <a:pt x="230454" y="1497926"/>
                    </a:lnTo>
                    <a:lnTo>
                      <a:pt x="345681" y="1497926"/>
                    </a:lnTo>
                    <a:lnTo>
                      <a:pt x="345681" y="1382712"/>
                    </a:lnTo>
                    <a:lnTo>
                      <a:pt x="460908" y="1382712"/>
                    </a:lnTo>
                    <a:lnTo>
                      <a:pt x="460908" y="1613154"/>
                    </a:lnTo>
                    <a:lnTo>
                      <a:pt x="576122" y="1613154"/>
                    </a:lnTo>
                    <a:lnTo>
                      <a:pt x="576122" y="1382699"/>
                    </a:lnTo>
                    <a:close/>
                  </a:path>
                  <a:path w="1728470" h="2880995">
                    <a:moveTo>
                      <a:pt x="576122" y="1152245"/>
                    </a:moveTo>
                    <a:lnTo>
                      <a:pt x="460908" y="1152245"/>
                    </a:lnTo>
                    <a:lnTo>
                      <a:pt x="460908" y="1267472"/>
                    </a:lnTo>
                    <a:lnTo>
                      <a:pt x="576122" y="1267472"/>
                    </a:lnTo>
                    <a:lnTo>
                      <a:pt x="576122" y="1152245"/>
                    </a:lnTo>
                    <a:close/>
                  </a:path>
                  <a:path w="1728470" h="2880995">
                    <a:moveTo>
                      <a:pt x="806577" y="1613154"/>
                    </a:moveTo>
                    <a:lnTo>
                      <a:pt x="691349" y="1613154"/>
                    </a:lnTo>
                    <a:lnTo>
                      <a:pt x="691349" y="1728368"/>
                    </a:lnTo>
                    <a:lnTo>
                      <a:pt x="576135" y="1728368"/>
                    </a:lnTo>
                    <a:lnTo>
                      <a:pt x="576135" y="1958835"/>
                    </a:lnTo>
                    <a:lnTo>
                      <a:pt x="691362" y="1958835"/>
                    </a:lnTo>
                    <a:lnTo>
                      <a:pt x="806577" y="1958822"/>
                    </a:lnTo>
                    <a:lnTo>
                      <a:pt x="806577" y="1843595"/>
                    </a:lnTo>
                    <a:lnTo>
                      <a:pt x="691362" y="1843595"/>
                    </a:lnTo>
                    <a:lnTo>
                      <a:pt x="691362" y="1728381"/>
                    </a:lnTo>
                    <a:lnTo>
                      <a:pt x="806577" y="1728381"/>
                    </a:lnTo>
                    <a:lnTo>
                      <a:pt x="806577" y="1613154"/>
                    </a:lnTo>
                    <a:close/>
                  </a:path>
                  <a:path w="1728470" h="2880995">
                    <a:moveTo>
                      <a:pt x="921804" y="921804"/>
                    </a:moveTo>
                    <a:lnTo>
                      <a:pt x="806577" y="921804"/>
                    </a:lnTo>
                    <a:lnTo>
                      <a:pt x="691349" y="921804"/>
                    </a:lnTo>
                    <a:lnTo>
                      <a:pt x="691349" y="1037018"/>
                    </a:lnTo>
                    <a:lnTo>
                      <a:pt x="576135" y="1037018"/>
                    </a:lnTo>
                    <a:lnTo>
                      <a:pt x="576135" y="1267472"/>
                    </a:lnTo>
                    <a:lnTo>
                      <a:pt x="691349" y="1267472"/>
                    </a:lnTo>
                    <a:lnTo>
                      <a:pt x="806577" y="1267472"/>
                    </a:lnTo>
                    <a:lnTo>
                      <a:pt x="806577" y="1152245"/>
                    </a:lnTo>
                    <a:lnTo>
                      <a:pt x="691362" y="1152245"/>
                    </a:lnTo>
                    <a:lnTo>
                      <a:pt x="691362" y="1037031"/>
                    </a:lnTo>
                    <a:lnTo>
                      <a:pt x="806577" y="1037031"/>
                    </a:lnTo>
                    <a:lnTo>
                      <a:pt x="921804" y="1037031"/>
                    </a:lnTo>
                    <a:lnTo>
                      <a:pt x="921804" y="921804"/>
                    </a:lnTo>
                    <a:close/>
                  </a:path>
                  <a:path w="1728470" h="2880995">
                    <a:moveTo>
                      <a:pt x="1037018" y="1958822"/>
                    </a:moveTo>
                    <a:lnTo>
                      <a:pt x="921804" y="1958822"/>
                    </a:lnTo>
                    <a:lnTo>
                      <a:pt x="921804" y="2189276"/>
                    </a:lnTo>
                    <a:lnTo>
                      <a:pt x="1037018" y="2189276"/>
                    </a:lnTo>
                    <a:lnTo>
                      <a:pt x="1037018" y="1958822"/>
                    </a:lnTo>
                    <a:close/>
                  </a:path>
                  <a:path w="1728470" h="2880995">
                    <a:moveTo>
                      <a:pt x="1037018" y="1613154"/>
                    </a:moveTo>
                    <a:lnTo>
                      <a:pt x="921804" y="1613154"/>
                    </a:lnTo>
                    <a:lnTo>
                      <a:pt x="921804" y="1728381"/>
                    </a:lnTo>
                    <a:lnTo>
                      <a:pt x="1037018" y="1728381"/>
                    </a:lnTo>
                    <a:lnTo>
                      <a:pt x="1037018" y="1613154"/>
                    </a:lnTo>
                    <a:close/>
                  </a:path>
                  <a:path w="1728470" h="2880995">
                    <a:moveTo>
                      <a:pt x="1037018" y="1382699"/>
                    </a:moveTo>
                    <a:lnTo>
                      <a:pt x="921804" y="1382699"/>
                    </a:lnTo>
                    <a:lnTo>
                      <a:pt x="921804" y="1267472"/>
                    </a:lnTo>
                    <a:lnTo>
                      <a:pt x="806577" y="1267472"/>
                    </a:lnTo>
                    <a:lnTo>
                      <a:pt x="806577" y="1382699"/>
                    </a:lnTo>
                    <a:lnTo>
                      <a:pt x="691362" y="1382699"/>
                    </a:lnTo>
                    <a:lnTo>
                      <a:pt x="576135" y="1382699"/>
                    </a:lnTo>
                    <a:lnTo>
                      <a:pt x="576135" y="1497926"/>
                    </a:lnTo>
                    <a:lnTo>
                      <a:pt x="691349" y="1497926"/>
                    </a:lnTo>
                    <a:lnTo>
                      <a:pt x="806577" y="1497926"/>
                    </a:lnTo>
                    <a:lnTo>
                      <a:pt x="806577" y="1613141"/>
                    </a:lnTo>
                    <a:lnTo>
                      <a:pt x="921804" y="1613141"/>
                    </a:lnTo>
                    <a:lnTo>
                      <a:pt x="921804" y="1497926"/>
                    </a:lnTo>
                    <a:lnTo>
                      <a:pt x="1037018" y="1497926"/>
                    </a:lnTo>
                    <a:lnTo>
                      <a:pt x="1037018" y="1382699"/>
                    </a:lnTo>
                    <a:close/>
                  </a:path>
                  <a:path w="1728470" h="2880995">
                    <a:moveTo>
                      <a:pt x="1037018" y="576122"/>
                    </a:moveTo>
                    <a:lnTo>
                      <a:pt x="921804" y="576122"/>
                    </a:lnTo>
                    <a:lnTo>
                      <a:pt x="921804" y="691349"/>
                    </a:lnTo>
                    <a:lnTo>
                      <a:pt x="921804" y="806577"/>
                    </a:lnTo>
                    <a:lnTo>
                      <a:pt x="1037018" y="806577"/>
                    </a:lnTo>
                    <a:lnTo>
                      <a:pt x="1037018" y="691349"/>
                    </a:lnTo>
                    <a:lnTo>
                      <a:pt x="1037018" y="576122"/>
                    </a:lnTo>
                    <a:close/>
                  </a:path>
                  <a:path w="1728470" h="2880995">
                    <a:moveTo>
                      <a:pt x="1152258" y="1152245"/>
                    </a:moveTo>
                    <a:lnTo>
                      <a:pt x="1037031" y="1152245"/>
                    </a:lnTo>
                    <a:lnTo>
                      <a:pt x="1037031" y="1267472"/>
                    </a:lnTo>
                    <a:lnTo>
                      <a:pt x="1152258" y="1267472"/>
                    </a:lnTo>
                    <a:lnTo>
                      <a:pt x="1152258" y="1152245"/>
                    </a:lnTo>
                    <a:close/>
                  </a:path>
                  <a:path w="1728470" h="2880995">
                    <a:moveTo>
                      <a:pt x="1497914" y="1382699"/>
                    </a:moveTo>
                    <a:lnTo>
                      <a:pt x="1382699" y="1382699"/>
                    </a:lnTo>
                    <a:lnTo>
                      <a:pt x="1382699" y="1728368"/>
                    </a:lnTo>
                    <a:lnTo>
                      <a:pt x="1267485" y="1728368"/>
                    </a:lnTo>
                    <a:lnTo>
                      <a:pt x="1267485" y="1613154"/>
                    </a:lnTo>
                    <a:lnTo>
                      <a:pt x="1152258" y="1613154"/>
                    </a:lnTo>
                    <a:lnTo>
                      <a:pt x="1152258" y="1382712"/>
                    </a:lnTo>
                    <a:lnTo>
                      <a:pt x="1267485" y="1382712"/>
                    </a:lnTo>
                    <a:lnTo>
                      <a:pt x="1267485" y="1267472"/>
                    </a:lnTo>
                    <a:lnTo>
                      <a:pt x="1152258" y="1267472"/>
                    </a:lnTo>
                    <a:lnTo>
                      <a:pt x="1152258" y="1382699"/>
                    </a:lnTo>
                    <a:lnTo>
                      <a:pt x="1037031" y="1382699"/>
                    </a:lnTo>
                    <a:lnTo>
                      <a:pt x="1037031" y="1728381"/>
                    </a:lnTo>
                    <a:lnTo>
                      <a:pt x="1152258" y="1728381"/>
                    </a:lnTo>
                    <a:lnTo>
                      <a:pt x="1152258" y="1843595"/>
                    </a:lnTo>
                    <a:lnTo>
                      <a:pt x="1037031" y="1843595"/>
                    </a:lnTo>
                    <a:lnTo>
                      <a:pt x="1037031" y="1958822"/>
                    </a:lnTo>
                    <a:lnTo>
                      <a:pt x="1037031" y="2189276"/>
                    </a:lnTo>
                    <a:lnTo>
                      <a:pt x="1152258" y="2189276"/>
                    </a:lnTo>
                    <a:lnTo>
                      <a:pt x="1152258" y="2304504"/>
                    </a:lnTo>
                    <a:lnTo>
                      <a:pt x="1037031" y="2304504"/>
                    </a:lnTo>
                    <a:lnTo>
                      <a:pt x="1037031" y="2419731"/>
                    </a:lnTo>
                    <a:lnTo>
                      <a:pt x="1152258" y="2419731"/>
                    </a:lnTo>
                    <a:lnTo>
                      <a:pt x="1152258" y="2304516"/>
                    </a:lnTo>
                    <a:lnTo>
                      <a:pt x="1267485" y="2304516"/>
                    </a:lnTo>
                    <a:lnTo>
                      <a:pt x="1267485" y="2419731"/>
                    </a:lnTo>
                    <a:lnTo>
                      <a:pt x="1382699" y="2419731"/>
                    </a:lnTo>
                    <a:lnTo>
                      <a:pt x="1382699" y="2650172"/>
                    </a:lnTo>
                    <a:lnTo>
                      <a:pt x="1267485" y="2650172"/>
                    </a:lnTo>
                    <a:lnTo>
                      <a:pt x="1267485" y="2765412"/>
                    </a:lnTo>
                    <a:lnTo>
                      <a:pt x="1382699" y="2765412"/>
                    </a:lnTo>
                    <a:lnTo>
                      <a:pt x="1497914" y="2765412"/>
                    </a:lnTo>
                    <a:lnTo>
                      <a:pt x="1497914" y="2650185"/>
                    </a:lnTo>
                    <a:lnTo>
                      <a:pt x="1497914" y="2304504"/>
                    </a:lnTo>
                    <a:lnTo>
                      <a:pt x="1382699" y="2304504"/>
                    </a:lnTo>
                    <a:lnTo>
                      <a:pt x="1267485" y="2304504"/>
                    </a:lnTo>
                    <a:lnTo>
                      <a:pt x="1267485" y="2189276"/>
                    </a:lnTo>
                    <a:lnTo>
                      <a:pt x="1382699" y="2189276"/>
                    </a:lnTo>
                    <a:lnTo>
                      <a:pt x="1382699" y="2074049"/>
                    </a:lnTo>
                    <a:lnTo>
                      <a:pt x="1267485" y="2074049"/>
                    </a:lnTo>
                    <a:lnTo>
                      <a:pt x="1152258" y="2074049"/>
                    </a:lnTo>
                    <a:lnTo>
                      <a:pt x="1152258" y="1958822"/>
                    </a:lnTo>
                    <a:lnTo>
                      <a:pt x="1152258" y="1843620"/>
                    </a:lnTo>
                    <a:lnTo>
                      <a:pt x="1267485" y="1843620"/>
                    </a:lnTo>
                    <a:lnTo>
                      <a:pt x="1382699" y="1843608"/>
                    </a:lnTo>
                    <a:lnTo>
                      <a:pt x="1497914" y="1843595"/>
                    </a:lnTo>
                    <a:lnTo>
                      <a:pt x="1497914" y="1382699"/>
                    </a:lnTo>
                    <a:close/>
                  </a:path>
                  <a:path w="1728470" h="2880995">
                    <a:moveTo>
                      <a:pt x="1497914" y="1152245"/>
                    </a:moveTo>
                    <a:lnTo>
                      <a:pt x="1382699" y="1152245"/>
                    </a:lnTo>
                    <a:lnTo>
                      <a:pt x="1382699" y="806577"/>
                    </a:lnTo>
                    <a:lnTo>
                      <a:pt x="1267485" y="806577"/>
                    </a:lnTo>
                    <a:lnTo>
                      <a:pt x="1267485" y="691362"/>
                    </a:lnTo>
                    <a:lnTo>
                      <a:pt x="1382699" y="691349"/>
                    </a:lnTo>
                    <a:lnTo>
                      <a:pt x="1382699" y="576122"/>
                    </a:lnTo>
                    <a:lnTo>
                      <a:pt x="1267485" y="576122"/>
                    </a:lnTo>
                    <a:lnTo>
                      <a:pt x="1267485" y="460895"/>
                    </a:lnTo>
                    <a:lnTo>
                      <a:pt x="1152258" y="460895"/>
                    </a:lnTo>
                    <a:lnTo>
                      <a:pt x="1037031" y="460895"/>
                    </a:lnTo>
                    <a:lnTo>
                      <a:pt x="1037031" y="691362"/>
                    </a:lnTo>
                    <a:lnTo>
                      <a:pt x="1152258" y="691362"/>
                    </a:lnTo>
                    <a:lnTo>
                      <a:pt x="1152258" y="921804"/>
                    </a:lnTo>
                    <a:lnTo>
                      <a:pt x="1267485" y="921804"/>
                    </a:lnTo>
                    <a:lnTo>
                      <a:pt x="1267485" y="1037018"/>
                    </a:lnTo>
                    <a:lnTo>
                      <a:pt x="1152258" y="1037018"/>
                    </a:lnTo>
                    <a:lnTo>
                      <a:pt x="1152258" y="921804"/>
                    </a:lnTo>
                    <a:lnTo>
                      <a:pt x="1037031" y="921804"/>
                    </a:lnTo>
                    <a:lnTo>
                      <a:pt x="1037031" y="1037031"/>
                    </a:lnTo>
                    <a:lnTo>
                      <a:pt x="1152258" y="1037031"/>
                    </a:lnTo>
                    <a:lnTo>
                      <a:pt x="1152258" y="1152245"/>
                    </a:lnTo>
                    <a:lnTo>
                      <a:pt x="1267485" y="1152245"/>
                    </a:lnTo>
                    <a:lnTo>
                      <a:pt x="1267485" y="1267472"/>
                    </a:lnTo>
                    <a:lnTo>
                      <a:pt x="1382699" y="1267472"/>
                    </a:lnTo>
                    <a:lnTo>
                      <a:pt x="1497914" y="1267472"/>
                    </a:lnTo>
                    <a:lnTo>
                      <a:pt x="1497914" y="1152245"/>
                    </a:lnTo>
                    <a:close/>
                  </a:path>
                  <a:path w="1728470" h="2880995">
                    <a:moveTo>
                      <a:pt x="1497914" y="691349"/>
                    </a:moveTo>
                    <a:lnTo>
                      <a:pt x="1382699" y="691349"/>
                    </a:lnTo>
                    <a:lnTo>
                      <a:pt x="1382699" y="806577"/>
                    </a:lnTo>
                    <a:lnTo>
                      <a:pt x="1497914" y="806577"/>
                    </a:lnTo>
                    <a:lnTo>
                      <a:pt x="1497914" y="691349"/>
                    </a:lnTo>
                    <a:close/>
                  </a:path>
                  <a:path w="1728470" h="2880995">
                    <a:moveTo>
                      <a:pt x="1497914" y="230454"/>
                    </a:moveTo>
                    <a:lnTo>
                      <a:pt x="1382699" y="230454"/>
                    </a:lnTo>
                    <a:lnTo>
                      <a:pt x="1382699" y="345681"/>
                    </a:lnTo>
                    <a:lnTo>
                      <a:pt x="1497914" y="345681"/>
                    </a:lnTo>
                    <a:lnTo>
                      <a:pt x="1497914" y="230454"/>
                    </a:lnTo>
                    <a:close/>
                  </a:path>
                  <a:path w="1728470" h="2880995">
                    <a:moveTo>
                      <a:pt x="1613154" y="2765399"/>
                    </a:moveTo>
                    <a:lnTo>
                      <a:pt x="1497926" y="2765399"/>
                    </a:lnTo>
                    <a:lnTo>
                      <a:pt x="1497926" y="2880626"/>
                    </a:lnTo>
                    <a:lnTo>
                      <a:pt x="1613154" y="2880626"/>
                    </a:lnTo>
                    <a:lnTo>
                      <a:pt x="1613154" y="2765399"/>
                    </a:lnTo>
                    <a:close/>
                  </a:path>
                  <a:path w="1728470" h="2880995">
                    <a:moveTo>
                      <a:pt x="1613154" y="2534945"/>
                    </a:moveTo>
                    <a:lnTo>
                      <a:pt x="1497926" y="2534945"/>
                    </a:lnTo>
                    <a:lnTo>
                      <a:pt x="1497926" y="2650172"/>
                    </a:lnTo>
                    <a:lnTo>
                      <a:pt x="1613154" y="2650172"/>
                    </a:lnTo>
                    <a:lnTo>
                      <a:pt x="1613154" y="2534945"/>
                    </a:lnTo>
                    <a:close/>
                  </a:path>
                  <a:path w="1728470" h="2880995">
                    <a:moveTo>
                      <a:pt x="1613154" y="2189276"/>
                    </a:moveTo>
                    <a:lnTo>
                      <a:pt x="1497926" y="2189276"/>
                    </a:lnTo>
                    <a:lnTo>
                      <a:pt x="1497926" y="2304504"/>
                    </a:lnTo>
                    <a:lnTo>
                      <a:pt x="1497926" y="2419731"/>
                    </a:lnTo>
                    <a:lnTo>
                      <a:pt x="1613154" y="2419731"/>
                    </a:lnTo>
                    <a:lnTo>
                      <a:pt x="1613154" y="2304516"/>
                    </a:lnTo>
                    <a:lnTo>
                      <a:pt x="1613154" y="2189276"/>
                    </a:lnTo>
                    <a:close/>
                  </a:path>
                  <a:path w="1728470" h="2880995">
                    <a:moveTo>
                      <a:pt x="1613154" y="1843595"/>
                    </a:moveTo>
                    <a:lnTo>
                      <a:pt x="1497926" y="1843595"/>
                    </a:lnTo>
                    <a:lnTo>
                      <a:pt x="1497926" y="1958822"/>
                    </a:lnTo>
                    <a:lnTo>
                      <a:pt x="1497926" y="2074049"/>
                    </a:lnTo>
                    <a:lnTo>
                      <a:pt x="1613154" y="2074049"/>
                    </a:lnTo>
                    <a:lnTo>
                      <a:pt x="1613154" y="1958822"/>
                    </a:lnTo>
                    <a:lnTo>
                      <a:pt x="1613154" y="1843595"/>
                    </a:lnTo>
                    <a:close/>
                  </a:path>
                  <a:path w="1728470" h="2880995">
                    <a:moveTo>
                      <a:pt x="1613154" y="1613154"/>
                    </a:moveTo>
                    <a:lnTo>
                      <a:pt x="1497926" y="1613154"/>
                    </a:lnTo>
                    <a:lnTo>
                      <a:pt x="1497926" y="1728381"/>
                    </a:lnTo>
                    <a:lnTo>
                      <a:pt x="1613154" y="1728381"/>
                    </a:lnTo>
                    <a:lnTo>
                      <a:pt x="1613154" y="1613154"/>
                    </a:lnTo>
                    <a:close/>
                  </a:path>
                  <a:path w="1728470" h="2880995">
                    <a:moveTo>
                      <a:pt x="1613154" y="1267472"/>
                    </a:moveTo>
                    <a:lnTo>
                      <a:pt x="1497926" y="1267472"/>
                    </a:lnTo>
                    <a:lnTo>
                      <a:pt x="1497926" y="1497939"/>
                    </a:lnTo>
                    <a:lnTo>
                      <a:pt x="1613154" y="1497939"/>
                    </a:lnTo>
                    <a:lnTo>
                      <a:pt x="1613154" y="1267472"/>
                    </a:lnTo>
                    <a:close/>
                  </a:path>
                  <a:path w="1728470" h="2880995">
                    <a:moveTo>
                      <a:pt x="1613154" y="921804"/>
                    </a:moveTo>
                    <a:lnTo>
                      <a:pt x="1497926" y="921804"/>
                    </a:lnTo>
                    <a:lnTo>
                      <a:pt x="1497926" y="1152258"/>
                    </a:lnTo>
                    <a:lnTo>
                      <a:pt x="1613154" y="1152258"/>
                    </a:lnTo>
                    <a:lnTo>
                      <a:pt x="1613154" y="921804"/>
                    </a:lnTo>
                    <a:close/>
                  </a:path>
                  <a:path w="1728470" h="2880995">
                    <a:moveTo>
                      <a:pt x="1728381" y="0"/>
                    </a:moveTo>
                    <a:lnTo>
                      <a:pt x="1613154" y="0"/>
                    </a:lnTo>
                    <a:lnTo>
                      <a:pt x="1497926" y="0"/>
                    </a:lnTo>
                    <a:lnTo>
                      <a:pt x="1497926" y="115227"/>
                    </a:lnTo>
                    <a:lnTo>
                      <a:pt x="1613154" y="115227"/>
                    </a:lnTo>
                    <a:lnTo>
                      <a:pt x="1613154" y="230454"/>
                    </a:lnTo>
                    <a:lnTo>
                      <a:pt x="1497926" y="230454"/>
                    </a:lnTo>
                    <a:lnTo>
                      <a:pt x="1497926" y="576135"/>
                    </a:lnTo>
                    <a:lnTo>
                      <a:pt x="1613154" y="576135"/>
                    </a:lnTo>
                    <a:lnTo>
                      <a:pt x="1613154" y="691349"/>
                    </a:lnTo>
                    <a:lnTo>
                      <a:pt x="1613154" y="806577"/>
                    </a:lnTo>
                    <a:lnTo>
                      <a:pt x="1728381" y="806577"/>
                    </a:lnTo>
                    <a:lnTo>
                      <a:pt x="1728381" y="691349"/>
                    </a:lnTo>
                    <a:lnTo>
                      <a:pt x="1728381" y="576122"/>
                    </a:lnTo>
                    <a:lnTo>
                      <a:pt x="1613154" y="576122"/>
                    </a:lnTo>
                    <a:lnTo>
                      <a:pt x="1613154" y="460895"/>
                    </a:lnTo>
                    <a:lnTo>
                      <a:pt x="1728381" y="460895"/>
                    </a:lnTo>
                    <a:lnTo>
                      <a:pt x="1728381" y="345668"/>
                    </a:lnTo>
                    <a:lnTo>
                      <a:pt x="1613154" y="345668"/>
                    </a:lnTo>
                    <a:lnTo>
                      <a:pt x="1613154" y="230466"/>
                    </a:lnTo>
                    <a:lnTo>
                      <a:pt x="1728381" y="230466"/>
                    </a:lnTo>
                    <a:lnTo>
                      <a:pt x="1728381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object 20"/>
              <p:cNvSpPr/>
              <p:nvPr/>
            </p:nvSpPr>
            <p:spPr>
              <a:xfrm>
                <a:off x="5817336" y="3430904"/>
                <a:ext cx="1267460" cy="2880995"/>
              </a:xfrm>
              <a:custGeom>
                <a:avLst/>
                <a:gdLst/>
                <a:ahLst/>
                <a:cxnLst/>
                <a:rect l="l" t="t" r="r" b="b"/>
                <a:pathLst>
                  <a:path w="1267459" h="2880995">
                    <a:moveTo>
                      <a:pt x="115227" y="691349"/>
                    </a:moveTo>
                    <a:lnTo>
                      <a:pt x="0" y="691349"/>
                    </a:lnTo>
                    <a:lnTo>
                      <a:pt x="0" y="806577"/>
                    </a:lnTo>
                    <a:lnTo>
                      <a:pt x="115227" y="806577"/>
                    </a:lnTo>
                    <a:lnTo>
                      <a:pt x="115227" y="691349"/>
                    </a:lnTo>
                    <a:close/>
                  </a:path>
                  <a:path w="1267459" h="2880995">
                    <a:moveTo>
                      <a:pt x="230441" y="2189276"/>
                    </a:moveTo>
                    <a:lnTo>
                      <a:pt x="115227" y="2189276"/>
                    </a:lnTo>
                    <a:lnTo>
                      <a:pt x="115227" y="2304504"/>
                    </a:lnTo>
                    <a:lnTo>
                      <a:pt x="115227" y="2534945"/>
                    </a:lnTo>
                    <a:lnTo>
                      <a:pt x="0" y="2534945"/>
                    </a:lnTo>
                    <a:lnTo>
                      <a:pt x="0" y="2650172"/>
                    </a:lnTo>
                    <a:lnTo>
                      <a:pt x="0" y="2880639"/>
                    </a:lnTo>
                    <a:lnTo>
                      <a:pt x="115227" y="2880639"/>
                    </a:lnTo>
                    <a:lnTo>
                      <a:pt x="230441" y="2880626"/>
                    </a:lnTo>
                    <a:lnTo>
                      <a:pt x="230441" y="2765399"/>
                    </a:lnTo>
                    <a:lnTo>
                      <a:pt x="115227" y="2765399"/>
                    </a:lnTo>
                    <a:lnTo>
                      <a:pt x="115227" y="2650172"/>
                    </a:lnTo>
                    <a:lnTo>
                      <a:pt x="115227" y="2534958"/>
                    </a:lnTo>
                    <a:lnTo>
                      <a:pt x="230441" y="2534958"/>
                    </a:lnTo>
                    <a:lnTo>
                      <a:pt x="230441" y="2304516"/>
                    </a:lnTo>
                    <a:lnTo>
                      <a:pt x="230441" y="2189276"/>
                    </a:lnTo>
                    <a:close/>
                  </a:path>
                  <a:path w="1267459" h="2880995">
                    <a:moveTo>
                      <a:pt x="230441" y="1382699"/>
                    </a:moveTo>
                    <a:lnTo>
                      <a:pt x="115227" y="1382699"/>
                    </a:lnTo>
                    <a:lnTo>
                      <a:pt x="115227" y="1613154"/>
                    </a:lnTo>
                    <a:lnTo>
                      <a:pt x="0" y="1613154"/>
                    </a:lnTo>
                    <a:lnTo>
                      <a:pt x="0" y="1958822"/>
                    </a:lnTo>
                    <a:lnTo>
                      <a:pt x="0" y="2074049"/>
                    </a:lnTo>
                    <a:lnTo>
                      <a:pt x="115227" y="2074049"/>
                    </a:lnTo>
                    <a:lnTo>
                      <a:pt x="115227" y="1958835"/>
                    </a:lnTo>
                    <a:lnTo>
                      <a:pt x="230441" y="1958822"/>
                    </a:lnTo>
                    <a:lnTo>
                      <a:pt x="230441" y="1843595"/>
                    </a:lnTo>
                    <a:lnTo>
                      <a:pt x="115227" y="1843595"/>
                    </a:lnTo>
                    <a:lnTo>
                      <a:pt x="115227" y="1728381"/>
                    </a:lnTo>
                    <a:lnTo>
                      <a:pt x="230441" y="1728381"/>
                    </a:lnTo>
                    <a:lnTo>
                      <a:pt x="230441" y="1382699"/>
                    </a:lnTo>
                    <a:close/>
                  </a:path>
                  <a:path w="1267459" h="2880995">
                    <a:moveTo>
                      <a:pt x="230441" y="1037018"/>
                    </a:moveTo>
                    <a:lnTo>
                      <a:pt x="115227" y="1037018"/>
                    </a:lnTo>
                    <a:lnTo>
                      <a:pt x="115227" y="921804"/>
                    </a:lnTo>
                    <a:lnTo>
                      <a:pt x="0" y="921804"/>
                    </a:lnTo>
                    <a:lnTo>
                      <a:pt x="0" y="1037031"/>
                    </a:lnTo>
                    <a:lnTo>
                      <a:pt x="115227" y="1037031"/>
                    </a:lnTo>
                    <a:lnTo>
                      <a:pt x="115227" y="1267472"/>
                    </a:lnTo>
                    <a:lnTo>
                      <a:pt x="230441" y="1267472"/>
                    </a:lnTo>
                    <a:lnTo>
                      <a:pt x="230441" y="1037018"/>
                    </a:lnTo>
                    <a:close/>
                  </a:path>
                  <a:path w="1267459" h="2880995">
                    <a:moveTo>
                      <a:pt x="345681" y="691349"/>
                    </a:moveTo>
                    <a:lnTo>
                      <a:pt x="230454" y="691349"/>
                    </a:lnTo>
                    <a:lnTo>
                      <a:pt x="230454" y="1152245"/>
                    </a:lnTo>
                    <a:lnTo>
                      <a:pt x="345681" y="1152245"/>
                    </a:lnTo>
                    <a:lnTo>
                      <a:pt x="345681" y="691349"/>
                    </a:lnTo>
                    <a:close/>
                  </a:path>
                  <a:path w="1267459" h="2880995">
                    <a:moveTo>
                      <a:pt x="345681" y="230454"/>
                    </a:moveTo>
                    <a:lnTo>
                      <a:pt x="230454" y="230454"/>
                    </a:lnTo>
                    <a:lnTo>
                      <a:pt x="230454" y="460908"/>
                    </a:lnTo>
                    <a:lnTo>
                      <a:pt x="345681" y="460908"/>
                    </a:lnTo>
                    <a:lnTo>
                      <a:pt x="345681" y="230454"/>
                    </a:lnTo>
                    <a:close/>
                  </a:path>
                  <a:path w="1267459" h="2880995">
                    <a:moveTo>
                      <a:pt x="576110" y="2304504"/>
                    </a:moveTo>
                    <a:lnTo>
                      <a:pt x="460895" y="2304504"/>
                    </a:lnTo>
                    <a:lnTo>
                      <a:pt x="345681" y="2304504"/>
                    </a:lnTo>
                    <a:lnTo>
                      <a:pt x="230454" y="2304504"/>
                    </a:lnTo>
                    <a:lnTo>
                      <a:pt x="230454" y="2534958"/>
                    </a:lnTo>
                    <a:lnTo>
                      <a:pt x="345668" y="2534958"/>
                    </a:lnTo>
                    <a:lnTo>
                      <a:pt x="345668" y="2650172"/>
                    </a:lnTo>
                    <a:lnTo>
                      <a:pt x="230454" y="2650172"/>
                    </a:lnTo>
                    <a:lnTo>
                      <a:pt x="230454" y="2880639"/>
                    </a:lnTo>
                    <a:lnTo>
                      <a:pt x="345681" y="2880639"/>
                    </a:lnTo>
                    <a:lnTo>
                      <a:pt x="345681" y="2765412"/>
                    </a:lnTo>
                    <a:lnTo>
                      <a:pt x="460895" y="2765412"/>
                    </a:lnTo>
                    <a:lnTo>
                      <a:pt x="460895" y="2880626"/>
                    </a:lnTo>
                    <a:lnTo>
                      <a:pt x="576110" y="2880626"/>
                    </a:lnTo>
                    <a:lnTo>
                      <a:pt x="576110" y="2765399"/>
                    </a:lnTo>
                    <a:lnTo>
                      <a:pt x="460895" y="2765399"/>
                    </a:lnTo>
                    <a:lnTo>
                      <a:pt x="460895" y="2650185"/>
                    </a:lnTo>
                    <a:lnTo>
                      <a:pt x="460895" y="2419731"/>
                    </a:lnTo>
                    <a:lnTo>
                      <a:pt x="576110" y="2419731"/>
                    </a:lnTo>
                    <a:lnTo>
                      <a:pt x="576110" y="2304504"/>
                    </a:lnTo>
                    <a:close/>
                  </a:path>
                  <a:path w="1267459" h="2880995">
                    <a:moveTo>
                      <a:pt x="576110" y="2074049"/>
                    </a:moveTo>
                    <a:lnTo>
                      <a:pt x="460895" y="2074049"/>
                    </a:lnTo>
                    <a:lnTo>
                      <a:pt x="460895" y="2189276"/>
                    </a:lnTo>
                    <a:lnTo>
                      <a:pt x="576110" y="2189276"/>
                    </a:lnTo>
                    <a:lnTo>
                      <a:pt x="576110" y="2074049"/>
                    </a:lnTo>
                    <a:close/>
                  </a:path>
                  <a:path w="1267459" h="2880995">
                    <a:moveTo>
                      <a:pt x="576110" y="1843595"/>
                    </a:moveTo>
                    <a:lnTo>
                      <a:pt x="460895" y="1843595"/>
                    </a:lnTo>
                    <a:lnTo>
                      <a:pt x="460895" y="1728368"/>
                    </a:lnTo>
                    <a:lnTo>
                      <a:pt x="345681" y="1728368"/>
                    </a:lnTo>
                    <a:lnTo>
                      <a:pt x="345681" y="1267472"/>
                    </a:lnTo>
                    <a:lnTo>
                      <a:pt x="230454" y="1267472"/>
                    </a:lnTo>
                    <a:lnTo>
                      <a:pt x="230454" y="1958822"/>
                    </a:lnTo>
                    <a:lnTo>
                      <a:pt x="230454" y="2304491"/>
                    </a:lnTo>
                    <a:lnTo>
                      <a:pt x="345681" y="2304491"/>
                    </a:lnTo>
                    <a:lnTo>
                      <a:pt x="345681" y="1958835"/>
                    </a:lnTo>
                    <a:lnTo>
                      <a:pt x="460895" y="1958835"/>
                    </a:lnTo>
                    <a:lnTo>
                      <a:pt x="576110" y="1958822"/>
                    </a:lnTo>
                    <a:lnTo>
                      <a:pt x="576110" y="1843595"/>
                    </a:lnTo>
                    <a:close/>
                  </a:path>
                  <a:path w="1267459" h="2880995">
                    <a:moveTo>
                      <a:pt x="576110" y="1267472"/>
                    </a:moveTo>
                    <a:lnTo>
                      <a:pt x="460895" y="1267472"/>
                    </a:lnTo>
                    <a:lnTo>
                      <a:pt x="460895" y="1613141"/>
                    </a:lnTo>
                    <a:lnTo>
                      <a:pt x="576110" y="1613141"/>
                    </a:lnTo>
                    <a:lnTo>
                      <a:pt x="576110" y="1267472"/>
                    </a:lnTo>
                    <a:close/>
                  </a:path>
                  <a:path w="1267459" h="2880995">
                    <a:moveTo>
                      <a:pt x="576110" y="1037018"/>
                    </a:moveTo>
                    <a:lnTo>
                      <a:pt x="460895" y="1037018"/>
                    </a:lnTo>
                    <a:lnTo>
                      <a:pt x="460895" y="1152245"/>
                    </a:lnTo>
                    <a:lnTo>
                      <a:pt x="576110" y="1152245"/>
                    </a:lnTo>
                    <a:lnTo>
                      <a:pt x="576110" y="1037018"/>
                    </a:lnTo>
                    <a:close/>
                  </a:path>
                  <a:path w="1267459" h="2880995">
                    <a:moveTo>
                      <a:pt x="576110" y="0"/>
                    </a:moveTo>
                    <a:lnTo>
                      <a:pt x="460895" y="0"/>
                    </a:lnTo>
                    <a:lnTo>
                      <a:pt x="460895" y="691349"/>
                    </a:lnTo>
                    <a:lnTo>
                      <a:pt x="460895" y="806577"/>
                    </a:lnTo>
                    <a:lnTo>
                      <a:pt x="576110" y="806577"/>
                    </a:lnTo>
                    <a:lnTo>
                      <a:pt x="576110" y="691362"/>
                    </a:lnTo>
                    <a:lnTo>
                      <a:pt x="576110" y="0"/>
                    </a:lnTo>
                    <a:close/>
                  </a:path>
                  <a:path w="1267459" h="2880995">
                    <a:moveTo>
                      <a:pt x="691349" y="1497926"/>
                    </a:moveTo>
                    <a:lnTo>
                      <a:pt x="576122" y="1497926"/>
                    </a:lnTo>
                    <a:lnTo>
                      <a:pt x="576122" y="1613154"/>
                    </a:lnTo>
                    <a:lnTo>
                      <a:pt x="691349" y="1613154"/>
                    </a:lnTo>
                    <a:lnTo>
                      <a:pt x="691349" y="1497926"/>
                    </a:lnTo>
                    <a:close/>
                  </a:path>
                  <a:path w="1267459" h="2880995">
                    <a:moveTo>
                      <a:pt x="691349" y="921804"/>
                    </a:moveTo>
                    <a:lnTo>
                      <a:pt x="576122" y="921804"/>
                    </a:lnTo>
                    <a:lnTo>
                      <a:pt x="576122" y="1037031"/>
                    </a:lnTo>
                    <a:lnTo>
                      <a:pt x="691349" y="1037031"/>
                    </a:lnTo>
                    <a:lnTo>
                      <a:pt x="691349" y="921804"/>
                    </a:lnTo>
                    <a:close/>
                  </a:path>
                  <a:path w="1267459" h="2880995">
                    <a:moveTo>
                      <a:pt x="921804" y="2534945"/>
                    </a:moveTo>
                    <a:lnTo>
                      <a:pt x="806577" y="2534945"/>
                    </a:lnTo>
                    <a:lnTo>
                      <a:pt x="806577" y="2304504"/>
                    </a:lnTo>
                    <a:lnTo>
                      <a:pt x="691349" y="2304504"/>
                    </a:lnTo>
                    <a:lnTo>
                      <a:pt x="576122" y="2304504"/>
                    </a:lnTo>
                    <a:lnTo>
                      <a:pt x="576122" y="2419731"/>
                    </a:lnTo>
                    <a:lnTo>
                      <a:pt x="691349" y="2419731"/>
                    </a:lnTo>
                    <a:lnTo>
                      <a:pt x="691349" y="2534945"/>
                    </a:lnTo>
                    <a:lnTo>
                      <a:pt x="576122" y="2534945"/>
                    </a:lnTo>
                    <a:lnTo>
                      <a:pt x="576122" y="2650172"/>
                    </a:lnTo>
                    <a:lnTo>
                      <a:pt x="576122" y="2765412"/>
                    </a:lnTo>
                    <a:lnTo>
                      <a:pt x="691349" y="2765412"/>
                    </a:lnTo>
                    <a:lnTo>
                      <a:pt x="806577" y="2765412"/>
                    </a:lnTo>
                    <a:lnTo>
                      <a:pt x="806577" y="2880626"/>
                    </a:lnTo>
                    <a:lnTo>
                      <a:pt x="921804" y="2880626"/>
                    </a:lnTo>
                    <a:lnTo>
                      <a:pt x="921804" y="2765399"/>
                    </a:lnTo>
                    <a:lnTo>
                      <a:pt x="806577" y="2765399"/>
                    </a:lnTo>
                    <a:lnTo>
                      <a:pt x="806577" y="2650185"/>
                    </a:lnTo>
                    <a:lnTo>
                      <a:pt x="921804" y="2650172"/>
                    </a:lnTo>
                    <a:lnTo>
                      <a:pt x="921804" y="2534945"/>
                    </a:lnTo>
                    <a:close/>
                  </a:path>
                  <a:path w="1267459" h="2880995">
                    <a:moveTo>
                      <a:pt x="1037031" y="1613154"/>
                    </a:moveTo>
                    <a:lnTo>
                      <a:pt x="921804" y="1613154"/>
                    </a:lnTo>
                    <a:lnTo>
                      <a:pt x="806577" y="1613154"/>
                    </a:lnTo>
                    <a:lnTo>
                      <a:pt x="806577" y="1728368"/>
                    </a:lnTo>
                    <a:lnTo>
                      <a:pt x="691349" y="1728368"/>
                    </a:lnTo>
                    <a:lnTo>
                      <a:pt x="576122" y="1728368"/>
                    </a:lnTo>
                    <a:lnTo>
                      <a:pt x="576122" y="1958835"/>
                    </a:lnTo>
                    <a:lnTo>
                      <a:pt x="691349" y="1958835"/>
                    </a:lnTo>
                    <a:lnTo>
                      <a:pt x="691349" y="2304491"/>
                    </a:lnTo>
                    <a:lnTo>
                      <a:pt x="806577" y="2304491"/>
                    </a:lnTo>
                    <a:lnTo>
                      <a:pt x="806577" y="1958835"/>
                    </a:lnTo>
                    <a:lnTo>
                      <a:pt x="806577" y="1843620"/>
                    </a:lnTo>
                    <a:lnTo>
                      <a:pt x="921804" y="1843620"/>
                    </a:lnTo>
                    <a:lnTo>
                      <a:pt x="921804" y="1728381"/>
                    </a:lnTo>
                    <a:lnTo>
                      <a:pt x="1037031" y="1728381"/>
                    </a:lnTo>
                    <a:lnTo>
                      <a:pt x="1037031" y="1613154"/>
                    </a:lnTo>
                    <a:close/>
                  </a:path>
                  <a:path w="1267459" h="2880995">
                    <a:moveTo>
                      <a:pt x="1037031" y="230454"/>
                    </a:moveTo>
                    <a:lnTo>
                      <a:pt x="921804" y="230454"/>
                    </a:lnTo>
                    <a:lnTo>
                      <a:pt x="806577" y="230454"/>
                    </a:lnTo>
                    <a:lnTo>
                      <a:pt x="691349" y="230454"/>
                    </a:lnTo>
                    <a:lnTo>
                      <a:pt x="691349" y="576135"/>
                    </a:lnTo>
                    <a:lnTo>
                      <a:pt x="806577" y="576135"/>
                    </a:lnTo>
                    <a:lnTo>
                      <a:pt x="921804" y="576135"/>
                    </a:lnTo>
                    <a:lnTo>
                      <a:pt x="1037031" y="576135"/>
                    </a:lnTo>
                    <a:lnTo>
                      <a:pt x="1037031" y="230454"/>
                    </a:lnTo>
                    <a:close/>
                  </a:path>
                  <a:path w="1267459" h="2880995">
                    <a:moveTo>
                      <a:pt x="1152258" y="2189276"/>
                    </a:moveTo>
                    <a:lnTo>
                      <a:pt x="1037031" y="2189276"/>
                    </a:lnTo>
                    <a:lnTo>
                      <a:pt x="1037031" y="2304504"/>
                    </a:lnTo>
                    <a:lnTo>
                      <a:pt x="1037031" y="2419718"/>
                    </a:lnTo>
                    <a:lnTo>
                      <a:pt x="921804" y="2419718"/>
                    </a:lnTo>
                    <a:lnTo>
                      <a:pt x="921804" y="2534945"/>
                    </a:lnTo>
                    <a:lnTo>
                      <a:pt x="1037031" y="2534945"/>
                    </a:lnTo>
                    <a:lnTo>
                      <a:pt x="1037031" y="2650185"/>
                    </a:lnTo>
                    <a:lnTo>
                      <a:pt x="1152258" y="2650185"/>
                    </a:lnTo>
                    <a:lnTo>
                      <a:pt x="1152258" y="2304516"/>
                    </a:lnTo>
                    <a:lnTo>
                      <a:pt x="1152258" y="2189276"/>
                    </a:lnTo>
                    <a:close/>
                  </a:path>
                  <a:path w="1267459" h="2880995">
                    <a:moveTo>
                      <a:pt x="1152258" y="1843595"/>
                    </a:moveTo>
                    <a:lnTo>
                      <a:pt x="1037031" y="1843595"/>
                    </a:lnTo>
                    <a:lnTo>
                      <a:pt x="1037031" y="1958822"/>
                    </a:lnTo>
                    <a:lnTo>
                      <a:pt x="1152258" y="1958822"/>
                    </a:lnTo>
                    <a:lnTo>
                      <a:pt x="1152258" y="1843595"/>
                    </a:lnTo>
                    <a:close/>
                  </a:path>
                  <a:path w="1267459" h="2880995">
                    <a:moveTo>
                      <a:pt x="1152258" y="1497926"/>
                    </a:moveTo>
                    <a:lnTo>
                      <a:pt x="1037031" y="1497926"/>
                    </a:lnTo>
                    <a:lnTo>
                      <a:pt x="1037031" y="1613154"/>
                    </a:lnTo>
                    <a:lnTo>
                      <a:pt x="1152258" y="1613154"/>
                    </a:lnTo>
                    <a:lnTo>
                      <a:pt x="1152258" y="1497926"/>
                    </a:lnTo>
                    <a:close/>
                  </a:path>
                  <a:path w="1267459" h="2880995">
                    <a:moveTo>
                      <a:pt x="1152258" y="1037018"/>
                    </a:moveTo>
                    <a:lnTo>
                      <a:pt x="1037031" y="1037018"/>
                    </a:lnTo>
                    <a:lnTo>
                      <a:pt x="1037031" y="921804"/>
                    </a:lnTo>
                    <a:lnTo>
                      <a:pt x="921804" y="921804"/>
                    </a:lnTo>
                    <a:lnTo>
                      <a:pt x="921804" y="1037018"/>
                    </a:lnTo>
                    <a:lnTo>
                      <a:pt x="806577" y="1037018"/>
                    </a:lnTo>
                    <a:lnTo>
                      <a:pt x="806577" y="1152245"/>
                    </a:lnTo>
                    <a:lnTo>
                      <a:pt x="691349" y="1152245"/>
                    </a:lnTo>
                    <a:lnTo>
                      <a:pt x="576122" y="1152245"/>
                    </a:lnTo>
                    <a:lnTo>
                      <a:pt x="576122" y="1267472"/>
                    </a:lnTo>
                    <a:lnTo>
                      <a:pt x="576122" y="1382712"/>
                    </a:lnTo>
                    <a:lnTo>
                      <a:pt x="691349" y="1382712"/>
                    </a:lnTo>
                    <a:lnTo>
                      <a:pt x="691349" y="1267472"/>
                    </a:lnTo>
                    <a:lnTo>
                      <a:pt x="806577" y="1267472"/>
                    </a:lnTo>
                    <a:lnTo>
                      <a:pt x="806577" y="1382712"/>
                    </a:lnTo>
                    <a:lnTo>
                      <a:pt x="921804" y="1382712"/>
                    </a:lnTo>
                    <a:lnTo>
                      <a:pt x="921804" y="1267472"/>
                    </a:lnTo>
                    <a:lnTo>
                      <a:pt x="1037031" y="1267472"/>
                    </a:lnTo>
                    <a:lnTo>
                      <a:pt x="1037031" y="1152245"/>
                    </a:lnTo>
                    <a:lnTo>
                      <a:pt x="921804" y="1152245"/>
                    </a:lnTo>
                    <a:lnTo>
                      <a:pt x="921804" y="1037031"/>
                    </a:lnTo>
                    <a:lnTo>
                      <a:pt x="1037031" y="1037031"/>
                    </a:lnTo>
                    <a:lnTo>
                      <a:pt x="1037031" y="1152245"/>
                    </a:lnTo>
                    <a:lnTo>
                      <a:pt x="1152258" y="1152245"/>
                    </a:lnTo>
                    <a:lnTo>
                      <a:pt x="1152258" y="1037018"/>
                    </a:lnTo>
                    <a:close/>
                  </a:path>
                  <a:path w="1267459" h="2880995">
                    <a:moveTo>
                      <a:pt x="1267460" y="0"/>
                    </a:moveTo>
                    <a:lnTo>
                      <a:pt x="1267460" y="0"/>
                    </a:lnTo>
                    <a:lnTo>
                      <a:pt x="576122" y="0"/>
                    </a:lnTo>
                    <a:lnTo>
                      <a:pt x="576122" y="115227"/>
                    </a:lnTo>
                    <a:lnTo>
                      <a:pt x="1152245" y="115227"/>
                    </a:lnTo>
                    <a:lnTo>
                      <a:pt x="1152245" y="691349"/>
                    </a:lnTo>
                    <a:lnTo>
                      <a:pt x="576122" y="691349"/>
                    </a:lnTo>
                    <a:lnTo>
                      <a:pt x="576122" y="806577"/>
                    </a:lnTo>
                    <a:lnTo>
                      <a:pt x="1267460" y="806577"/>
                    </a:lnTo>
                    <a:lnTo>
                      <a:pt x="1267460" y="691362"/>
                    </a:lnTo>
                    <a:lnTo>
                      <a:pt x="1267460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object 21"/>
              <p:cNvSpPr/>
              <p:nvPr/>
            </p:nvSpPr>
            <p:spPr>
              <a:xfrm>
                <a:off x="6969582" y="4122254"/>
                <a:ext cx="115570" cy="2189480"/>
              </a:xfrm>
              <a:custGeom>
                <a:avLst/>
                <a:gdLst/>
                <a:ahLst/>
                <a:cxnLst/>
                <a:rect l="l" t="t" r="r" b="b"/>
                <a:pathLst>
                  <a:path w="115570" h="2189479">
                    <a:moveTo>
                      <a:pt x="115214" y="2074049"/>
                    </a:moveTo>
                    <a:lnTo>
                      <a:pt x="0" y="2074049"/>
                    </a:lnTo>
                    <a:lnTo>
                      <a:pt x="0" y="2189276"/>
                    </a:lnTo>
                    <a:lnTo>
                      <a:pt x="115214" y="2189276"/>
                    </a:lnTo>
                    <a:lnTo>
                      <a:pt x="115214" y="2074049"/>
                    </a:lnTo>
                    <a:close/>
                  </a:path>
                  <a:path w="115570" h="2189479">
                    <a:moveTo>
                      <a:pt x="115214" y="1843595"/>
                    </a:moveTo>
                    <a:lnTo>
                      <a:pt x="0" y="1843595"/>
                    </a:lnTo>
                    <a:lnTo>
                      <a:pt x="0" y="1958822"/>
                    </a:lnTo>
                    <a:lnTo>
                      <a:pt x="115214" y="1958822"/>
                    </a:lnTo>
                    <a:lnTo>
                      <a:pt x="115214" y="1843595"/>
                    </a:lnTo>
                    <a:close/>
                  </a:path>
                  <a:path w="115570" h="2189479">
                    <a:moveTo>
                      <a:pt x="115214" y="1613154"/>
                    </a:moveTo>
                    <a:lnTo>
                      <a:pt x="0" y="1613154"/>
                    </a:lnTo>
                    <a:lnTo>
                      <a:pt x="0" y="1728381"/>
                    </a:lnTo>
                    <a:lnTo>
                      <a:pt x="115214" y="1728381"/>
                    </a:lnTo>
                    <a:lnTo>
                      <a:pt x="115214" y="1613154"/>
                    </a:lnTo>
                    <a:close/>
                  </a:path>
                  <a:path w="115570" h="2189479">
                    <a:moveTo>
                      <a:pt x="115214" y="1267472"/>
                    </a:moveTo>
                    <a:lnTo>
                      <a:pt x="0" y="1267472"/>
                    </a:lnTo>
                    <a:lnTo>
                      <a:pt x="0" y="1613141"/>
                    </a:lnTo>
                    <a:lnTo>
                      <a:pt x="115214" y="1613141"/>
                    </a:lnTo>
                    <a:lnTo>
                      <a:pt x="115214" y="1267472"/>
                    </a:lnTo>
                    <a:close/>
                  </a:path>
                  <a:path w="115570" h="2189479">
                    <a:moveTo>
                      <a:pt x="115214" y="691349"/>
                    </a:moveTo>
                    <a:lnTo>
                      <a:pt x="0" y="691349"/>
                    </a:lnTo>
                    <a:lnTo>
                      <a:pt x="0" y="1037031"/>
                    </a:lnTo>
                    <a:lnTo>
                      <a:pt x="115214" y="1037031"/>
                    </a:lnTo>
                    <a:lnTo>
                      <a:pt x="115214" y="691349"/>
                    </a:lnTo>
                    <a:close/>
                  </a:path>
                  <a:path w="115570" h="2189479">
                    <a:moveTo>
                      <a:pt x="115214" y="230454"/>
                    </a:moveTo>
                    <a:lnTo>
                      <a:pt x="0" y="230454"/>
                    </a:lnTo>
                    <a:lnTo>
                      <a:pt x="0" y="576122"/>
                    </a:lnTo>
                    <a:lnTo>
                      <a:pt x="115214" y="576122"/>
                    </a:lnTo>
                    <a:lnTo>
                      <a:pt x="115214" y="230454"/>
                    </a:lnTo>
                    <a:close/>
                  </a:path>
                  <a:path w="115570" h="2189479">
                    <a:moveTo>
                      <a:pt x="115214" y="0"/>
                    </a:moveTo>
                    <a:lnTo>
                      <a:pt x="0" y="0"/>
                    </a:lnTo>
                    <a:lnTo>
                      <a:pt x="0" y="115227"/>
                    </a:lnTo>
                    <a:lnTo>
                      <a:pt x="115214" y="115227"/>
                    </a:lnTo>
                    <a:lnTo>
                      <a:pt x="115214" y="0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1" name="object 22"/>
            <p:cNvSpPr/>
            <p:nvPr/>
          </p:nvSpPr>
          <p:spPr>
            <a:xfrm>
              <a:off x="4204182" y="5504954"/>
              <a:ext cx="807085" cy="807085"/>
            </a:xfrm>
            <a:custGeom>
              <a:avLst/>
              <a:gdLst/>
              <a:ahLst/>
              <a:cxnLst/>
              <a:rect l="l" t="t" r="r" b="b"/>
              <a:pathLst>
                <a:path w="807085" h="807085">
                  <a:moveTo>
                    <a:pt x="230441" y="0"/>
                  </a:moveTo>
                  <a:lnTo>
                    <a:pt x="115227" y="0"/>
                  </a:lnTo>
                  <a:lnTo>
                    <a:pt x="0" y="0"/>
                  </a:lnTo>
                  <a:lnTo>
                    <a:pt x="0" y="230454"/>
                  </a:lnTo>
                  <a:lnTo>
                    <a:pt x="0" y="576122"/>
                  </a:lnTo>
                  <a:lnTo>
                    <a:pt x="0" y="806589"/>
                  </a:lnTo>
                  <a:lnTo>
                    <a:pt x="115227" y="806589"/>
                  </a:lnTo>
                  <a:lnTo>
                    <a:pt x="230441" y="806577"/>
                  </a:lnTo>
                  <a:lnTo>
                    <a:pt x="230441" y="691349"/>
                  </a:lnTo>
                  <a:lnTo>
                    <a:pt x="115227" y="691349"/>
                  </a:lnTo>
                  <a:lnTo>
                    <a:pt x="115227" y="576135"/>
                  </a:lnTo>
                  <a:lnTo>
                    <a:pt x="115227" y="230466"/>
                  </a:lnTo>
                  <a:lnTo>
                    <a:pt x="115227" y="115227"/>
                  </a:lnTo>
                  <a:lnTo>
                    <a:pt x="230441" y="115227"/>
                  </a:lnTo>
                  <a:lnTo>
                    <a:pt x="230441" y="0"/>
                  </a:lnTo>
                  <a:close/>
                </a:path>
                <a:path w="807085" h="807085">
                  <a:moveTo>
                    <a:pt x="576122" y="691349"/>
                  </a:moveTo>
                  <a:lnTo>
                    <a:pt x="460908" y="691349"/>
                  </a:lnTo>
                  <a:lnTo>
                    <a:pt x="345681" y="691349"/>
                  </a:lnTo>
                  <a:lnTo>
                    <a:pt x="230454" y="691349"/>
                  </a:lnTo>
                  <a:lnTo>
                    <a:pt x="230454" y="806577"/>
                  </a:lnTo>
                  <a:lnTo>
                    <a:pt x="345681" y="806577"/>
                  </a:lnTo>
                  <a:lnTo>
                    <a:pt x="460908" y="806577"/>
                  </a:lnTo>
                  <a:lnTo>
                    <a:pt x="576122" y="806577"/>
                  </a:lnTo>
                  <a:lnTo>
                    <a:pt x="576122" y="691349"/>
                  </a:lnTo>
                  <a:close/>
                </a:path>
                <a:path w="807085" h="807085">
                  <a:moveTo>
                    <a:pt x="576122" y="230454"/>
                  </a:moveTo>
                  <a:lnTo>
                    <a:pt x="460908" y="230454"/>
                  </a:lnTo>
                  <a:lnTo>
                    <a:pt x="345681" y="230454"/>
                  </a:lnTo>
                  <a:lnTo>
                    <a:pt x="230454" y="230454"/>
                  </a:lnTo>
                  <a:lnTo>
                    <a:pt x="230454" y="576135"/>
                  </a:lnTo>
                  <a:lnTo>
                    <a:pt x="345681" y="576135"/>
                  </a:lnTo>
                  <a:lnTo>
                    <a:pt x="460908" y="576135"/>
                  </a:lnTo>
                  <a:lnTo>
                    <a:pt x="576122" y="576135"/>
                  </a:lnTo>
                  <a:lnTo>
                    <a:pt x="576122" y="230454"/>
                  </a:lnTo>
                  <a:close/>
                </a:path>
                <a:path w="807085" h="807085">
                  <a:moveTo>
                    <a:pt x="576122" y="0"/>
                  </a:moveTo>
                  <a:lnTo>
                    <a:pt x="460908" y="0"/>
                  </a:lnTo>
                  <a:lnTo>
                    <a:pt x="345681" y="0"/>
                  </a:lnTo>
                  <a:lnTo>
                    <a:pt x="230454" y="0"/>
                  </a:lnTo>
                  <a:lnTo>
                    <a:pt x="230454" y="115227"/>
                  </a:lnTo>
                  <a:lnTo>
                    <a:pt x="345681" y="115227"/>
                  </a:lnTo>
                  <a:lnTo>
                    <a:pt x="460908" y="115227"/>
                  </a:lnTo>
                  <a:lnTo>
                    <a:pt x="576122" y="115227"/>
                  </a:lnTo>
                  <a:lnTo>
                    <a:pt x="576122" y="0"/>
                  </a:lnTo>
                  <a:close/>
                </a:path>
                <a:path w="807085" h="807085">
                  <a:moveTo>
                    <a:pt x="806577" y="0"/>
                  </a:moveTo>
                  <a:lnTo>
                    <a:pt x="691362" y="0"/>
                  </a:lnTo>
                  <a:lnTo>
                    <a:pt x="576135" y="0"/>
                  </a:lnTo>
                  <a:lnTo>
                    <a:pt x="576135" y="115227"/>
                  </a:lnTo>
                  <a:lnTo>
                    <a:pt x="691349" y="115227"/>
                  </a:lnTo>
                  <a:lnTo>
                    <a:pt x="691349" y="230454"/>
                  </a:lnTo>
                  <a:lnTo>
                    <a:pt x="691349" y="576122"/>
                  </a:lnTo>
                  <a:lnTo>
                    <a:pt x="691349" y="691349"/>
                  </a:lnTo>
                  <a:lnTo>
                    <a:pt x="576135" y="691349"/>
                  </a:lnTo>
                  <a:lnTo>
                    <a:pt x="576135" y="806577"/>
                  </a:lnTo>
                  <a:lnTo>
                    <a:pt x="691349" y="806577"/>
                  </a:lnTo>
                  <a:lnTo>
                    <a:pt x="806577" y="806589"/>
                  </a:lnTo>
                  <a:lnTo>
                    <a:pt x="806577" y="576135"/>
                  </a:lnTo>
                  <a:lnTo>
                    <a:pt x="806577" y="230466"/>
                  </a:lnTo>
                  <a:lnTo>
                    <a:pt x="806577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object 23"/>
            <p:cNvSpPr/>
            <p:nvPr/>
          </p:nvSpPr>
          <p:spPr>
            <a:xfrm>
              <a:off x="5125986" y="3430904"/>
              <a:ext cx="115570" cy="115570"/>
            </a:xfrm>
            <a:custGeom>
              <a:avLst/>
              <a:gdLst/>
              <a:ahLst/>
              <a:cxnLst/>
              <a:rect l="l" t="t" r="r" b="b"/>
              <a:pathLst>
                <a:path w="115570" h="115570">
                  <a:moveTo>
                    <a:pt x="115227" y="0"/>
                  </a:moveTo>
                  <a:lnTo>
                    <a:pt x="0" y="0"/>
                  </a:lnTo>
                  <a:lnTo>
                    <a:pt x="0" y="115227"/>
                  </a:lnTo>
                  <a:lnTo>
                    <a:pt x="115227" y="115227"/>
                  </a:lnTo>
                  <a:lnTo>
                    <a:pt x="115227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object 24"/>
            <p:cNvSpPr/>
            <p:nvPr/>
          </p:nvSpPr>
          <p:spPr>
            <a:xfrm>
              <a:off x="5125986" y="3661359"/>
              <a:ext cx="115570" cy="115570"/>
            </a:xfrm>
            <a:custGeom>
              <a:avLst/>
              <a:gdLst/>
              <a:ahLst/>
              <a:cxnLst/>
              <a:rect l="l" t="t" r="r" b="b"/>
              <a:pathLst>
                <a:path w="115570" h="115570">
                  <a:moveTo>
                    <a:pt x="115227" y="0"/>
                  </a:moveTo>
                  <a:lnTo>
                    <a:pt x="0" y="0"/>
                  </a:lnTo>
                  <a:lnTo>
                    <a:pt x="0" y="115227"/>
                  </a:lnTo>
                  <a:lnTo>
                    <a:pt x="115227" y="115227"/>
                  </a:lnTo>
                  <a:lnTo>
                    <a:pt x="115227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object 25"/>
            <p:cNvSpPr/>
            <p:nvPr/>
          </p:nvSpPr>
          <p:spPr>
            <a:xfrm>
              <a:off x="5125987" y="5965850"/>
              <a:ext cx="230504" cy="346075"/>
            </a:xfrm>
            <a:custGeom>
              <a:avLst/>
              <a:gdLst/>
              <a:ahLst/>
              <a:cxnLst/>
              <a:rect l="l" t="t" r="r" b="b"/>
              <a:pathLst>
                <a:path w="230504" h="346075">
                  <a:moveTo>
                    <a:pt x="115214" y="230454"/>
                  </a:moveTo>
                  <a:lnTo>
                    <a:pt x="0" y="230454"/>
                  </a:lnTo>
                  <a:lnTo>
                    <a:pt x="0" y="345681"/>
                  </a:lnTo>
                  <a:lnTo>
                    <a:pt x="115214" y="345681"/>
                  </a:lnTo>
                  <a:lnTo>
                    <a:pt x="115214" y="230454"/>
                  </a:lnTo>
                  <a:close/>
                </a:path>
                <a:path w="230504" h="346075">
                  <a:moveTo>
                    <a:pt x="115214" y="0"/>
                  </a:moveTo>
                  <a:lnTo>
                    <a:pt x="0" y="0"/>
                  </a:lnTo>
                  <a:lnTo>
                    <a:pt x="0" y="115227"/>
                  </a:lnTo>
                  <a:lnTo>
                    <a:pt x="115214" y="115227"/>
                  </a:lnTo>
                  <a:lnTo>
                    <a:pt x="115214" y="0"/>
                  </a:lnTo>
                  <a:close/>
                </a:path>
                <a:path w="230504" h="346075">
                  <a:moveTo>
                    <a:pt x="230454" y="0"/>
                  </a:moveTo>
                  <a:lnTo>
                    <a:pt x="115227" y="0"/>
                  </a:lnTo>
                  <a:lnTo>
                    <a:pt x="115227" y="115227"/>
                  </a:lnTo>
                  <a:lnTo>
                    <a:pt x="115227" y="230466"/>
                  </a:lnTo>
                  <a:lnTo>
                    <a:pt x="230454" y="230466"/>
                  </a:lnTo>
                  <a:lnTo>
                    <a:pt x="230454" y="115227"/>
                  </a:lnTo>
                  <a:lnTo>
                    <a:pt x="230454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object 26"/>
            <p:cNvSpPr/>
            <p:nvPr/>
          </p:nvSpPr>
          <p:spPr>
            <a:xfrm>
              <a:off x="5356440" y="3661359"/>
              <a:ext cx="115570" cy="115570"/>
            </a:xfrm>
            <a:custGeom>
              <a:avLst/>
              <a:gdLst/>
              <a:ahLst/>
              <a:cxnLst/>
              <a:rect l="l" t="t" r="r" b="b"/>
              <a:pathLst>
                <a:path w="115570" h="115570">
                  <a:moveTo>
                    <a:pt x="115227" y="0"/>
                  </a:moveTo>
                  <a:lnTo>
                    <a:pt x="0" y="0"/>
                  </a:lnTo>
                  <a:lnTo>
                    <a:pt x="0" y="115227"/>
                  </a:lnTo>
                  <a:lnTo>
                    <a:pt x="115227" y="115227"/>
                  </a:lnTo>
                  <a:lnTo>
                    <a:pt x="115227" y="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9" name="object 3"/>
          <p:cNvSpPr txBox="1"/>
          <p:nvPr/>
        </p:nvSpPr>
        <p:spPr>
          <a:xfrm>
            <a:off x="474548" y="4591006"/>
            <a:ext cx="210360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 dirty="0" smtClean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youtube.com</a:t>
            </a: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/@</a:t>
            </a:r>
            <a:r>
              <a:rPr kumimoji="0" lang="en-US" sz="1600" b="0" i="0" u="none" strike="noStrike" kern="1200" cap="none" spc="-5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DelretRu</a:t>
            </a:r>
            <a:endParaRPr kumimoji="0" lang="en-US" sz="1600" b="0" i="0" u="none" strike="noStrike" kern="1200" cap="none" spc="-5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/>
              <a:ea typeface="+mn-ea"/>
              <a:cs typeface="Trebuchet MS"/>
            </a:endParaRPr>
          </a:p>
        </p:txBody>
      </p:sp>
      <p:sp>
        <p:nvSpPr>
          <p:cNvPr id="100" name="object 4"/>
          <p:cNvSpPr txBox="1"/>
          <p:nvPr/>
        </p:nvSpPr>
        <p:spPr>
          <a:xfrm>
            <a:off x="3115312" y="4591006"/>
            <a:ext cx="1692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t.me/</a:t>
            </a:r>
            <a:r>
              <a:rPr kumimoji="0" lang="en-US" sz="1600" b="0" i="0" u="none" strike="noStrike" kern="1200" cap="none" spc="-55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/>
                <a:ea typeface="+mn-ea"/>
                <a:cs typeface="Trebuchet MS"/>
              </a:rPr>
              <a:t>delret</a:t>
            </a:r>
            <a:endParaRPr kumimoji="0" lang="en-US" sz="1600" b="0" i="0" u="none" strike="noStrike" kern="1200" cap="none" spc="-5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/>
              <a:ea typeface="+mn-ea"/>
              <a:cs typeface="Trebuchet MS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115312" y="3864315"/>
            <a:ext cx="720000" cy="720000"/>
            <a:chOff x="-4635501" y="6980238"/>
            <a:chExt cx="1220788" cy="1220788"/>
          </a:xfrm>
          <a:solidFill>
            <a:schemeClr val="accent1"/>
          </a:solidFill>
        </p:grpSpPr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-4635501" y="6980238"/>
              <a:ext cx="1220788" cy="1220788"/>
            </a:xfrm>
            <a:custGeom>
              <a:avLst/>
              <a:gdLst>
                <a:gd name="T0" fmla="*/ 212 w 424"/>
                <a:gd name="T1" fmla="*/ 12 h 424"/>
                <a:gd name="T2" fmla="*/ 412 w 424"/>
                <a:gd name="T3" fmla="*/ 212 h 424"/>
                <a:gd name="T4" fmla="*/ 212 w 424"/>
                <a:gd name="T5" fmla="*/ 412 h 424"/>
                <a:gd name="T6" fmla="*/ 12 w 424"/>
                <a:gd name="T7" fmla="*/ 212 h 424"/>
                <a:gd name="T8" fmla="*/ 212 w 424"/>
                <a:gd name="T9" fmla="*/ 12 h 424"/>
                <a:gd name="T10" fmla="*/ 212 w 424"/>
                <a:gd name="T11" fmla="*/ 424 h 424"/>
                <a:gd name="T12" fmla="*/ 424 w 424"/>
                <a:gd name="T13" fmla="*/ 212 h 424"/>
                <a:gd name="T14" fmla="*/ 212 w 424"/>
                <a:gd name="T15" fmla="*/ 0 h 424"/>
                <a:gd name="T16" fmla="*/ 0 w 424"/>
                <a:gd name="T17" fmla="*/ 212 h 424"/>
                <a:gd name="T18" fmla="*/ 212 w 424"/>
                <a:gd name="T19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4" h="424">
                  <a:moveTo>
                    <a:pt x="212" y="12"/>
                  </a:moveTo>
                  <a:cubicBezTo>
                    <a:pt x="322" y="12"/>
                    <a:pt x="412" y="102"/>
                    <a:pt x="412" y="212"/>
                  </a:cubicBezTo>
                  <a:cubicBezTo>
                    <a:pt x="412" y="322"/>
                    <a:pt x="322" y="412"/>
                    <a:pt x="212" y="412"/>
                  </a:cubicBezTo>
                  <a:cubicBezTo>
                    <a:pt x="102" y="412"/>
                    <a:pt x="12" y="322"/>
                    <a:pt x="12" y="212"/>
                  </a:cubicBezTo>
                  <a:cubicBezTo>
                    <a:pt x="12" y="102"/>
                    <a:pt x="102" y="12"/>
                    <a:pt x="212" y="12"/>
                  </a:cubicBezTo>
                  <a:moveTo>
                    <a:pt x="212" y="424"/>
                  </a:moveTo>
                  <a:cubicBezTo>
                    <a:pt x="329" y="424"/>
                    <a:pt x="424" y="329"/>
                    <a:pt x="424" y="212"/>
                  </a:cubicBezTo>
                  <a:cubicBezTo>
                    <a:pt x="424" y="95"/>
                    <a:pt x="329" y="0"/>
                    <a:pt x="212" y="0"/>
                  </a:cubicBez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-4419601" y="7270750"/>
              <a:ext cx="788988" cy="639763"/>
            </a:xfrm>
            <a:custGeom>
              <a:avLst/>
              <a:gdLst>
                <a:gd name="T0" fmla="*/ 236 w 274"/>
                <a:gd name="T1" fmla="*/ 21 h 222"/>
                <a:gd name="T2" fmla="*/ 85 w 274"/>
                <a:gd name="T3" fmla="*/ 125 h 222"/>
                <a:gd name="T4" fmla="*/ 21 w 274"/>
                <a:gd name="T5" fmla="*/ 81 h 222"/>
                <a:gd name="T6" fmla="*/ 236 w 274"/>
                <a:gd name="T7" fmla="*/ 21 h 222"/>
                <a:gd name="T8" fmla="*/ 142 w 274"/>
                <a:gd name="T9" fmla="*/ 205 h 222"/>
                <a:gd name="T10" fmla="*/ 115 w 274"/>
                <a:gd name="T11" fmla="*/ 164 h 222"/>
                <a:gd name="T12" fmla="*/ 95 w 274"/>
                <a:gd name="T13" fmla="*/ 133 h 222"/>
                <a:gd name="T14" fmla="*/ 247 w 274"/>
                <a:gd name="T15" fmla="*/ 28 h 222"/>
                <a:gd name="T16" fmla="*/ 142 w 274"/>
                <a:gd name="T17" fmla="*/ 205 h 222"/>
                <a:gd name="T18" fmla="*/ 71 w 274"/>
                <a:gd name="T19" fmla="*/ 193 h 222"/>
                <a:gd name="T20" fmla="*/ 88 w 274"/>
                <a:gd name="T21" fmla="*/ 144 h 222"/>
                <a:gd name="T22" fmla="*/ 103 w 274"/>
                <a:gd name="T23" fmla="*/ 166 h 222"/>
                <a:gd name="T24" fmla="*/ 71 w 274"/>
                <a:gd name="T25" fmla="*/ 193 h 222"/>
                <a:gd name="T26" fmla="*/ 3 w 274"/>
                <a:gd name="T27" fmla="*/ 83 h 222"/>
                <a:gd name="T28" fmla="*/ 78 w 274"/>
                <a:gd name="T29" fmla="*/ 135 h 222"/>
                <a:gd name="T30" fmla="*/ 53 w 274"/>
                <a:gd name="T31" fmla="*/ 209 h 222"/>
                <a:gd name="T32" fmla="*/ 55 w 274"/>
                <a:gd name="T33" fmla="*/ 216 h 222"/>
                <a:gd name="T34" fmla="*/ 63 w 274"/>
                <a:gd name="T35" fmla="*/ 215 h 222"/>
                <a:gd name="T36" fmla="*/ 109 w 274"/>
                <a:gd name="T37" fmla="*/ 176 h 222"/>
                <a:gd name="T38" fmla="*/ 138 w 274"/>
                <a:gd name="T39" fmla="*/ 219 h 222"/>
                <a:gd name="T40" fmla="*/ 143 w 274"/>
                <a:gd name="T41" fmla="*/ 222 h 222"/>
                <a:gd name="T42" fmla="*/ 148 w 274"/>
                <a:gd name="T43" fmla="*/ 219 h 222"/>
                <a:gd name="T44" fmla="*/ 271 w 274"/>
                <a:gd name="T45" fmla="*/ 11 h 222"/>
                <a:gd name="T46" fmla="*/ 271 w 274"/>
                <a:gd name="T47" fmla="*/ 11 h 222"/>
                <a:gd name="T48" fmla="*/ 273 w 274"/>
                <a:gd name="T49" fmla="*/ 4 h 222"/>
                <a:gd name="T50" fmla="*/ 266 w 274"/>
                <a:gd name="T51" fmla="*/ 0 h 222"/>
                <a:gd name="T52" fmla="*/ 5 w 274"/>
                <a:gd name="T53" fmla="*/ 73 h 222"/>
                <a:gd name="T54" fmla="*/ 1 w 274"/>
                <a:gd name="T55" fmla="*/ 77 h 222"/>
                <a:gd name="T56" fmla="*/ 3 w 274"/>
                <a:gd name="T57" fmla="*/ 8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4" h="222">
                  <a:moveTo>
                    <a:pt x="236" y="21"/>
                  </a:moveTo>
                  <a:cubicBezTo>
                    <a:pt x="85" y="125"/>
                    <a:pt x="85" y="125"/>
                    <a:pt x="85" y="125"/>
                  </a:cubicBezTo>
                  <a:cubicBezTo>
                    <a:pt x="21" y="81"/>
                    <a:pt x="21" y="81"/>
                    <a:pt x="21" y="81"/>
                  </a:cubicBezTo>
                  <a:lnTo>
                    <a:pt x="236" y="21"/>
                  </a:lnTo>
                  <a:close/>
                  <a:moveTo>
                    <a:pt x="142" y="205"/>
                  </a:moveTo>
                  <a:cubicBezTo>
                    <a:pt x="115" y="164"/>
                    <a:pt x="115" y="164"/>
                    <a:pt x="115" y="164"/>
                  </a:cubicBezTo>
                  <a:cubicBezTo>
                    <a:pt x="95" y="133"/>
                    <a:pt x="95" y="133"/>
                    <a:pt x="95" y="133"/>
                  </a:cubicBezTo>
                  <a:cubicBezTo>
                    <a:pt x="247" y="28"/>
                    <a:pt x="247" y="28"/>
                    <a:pt x="247" y="28"/>
                  </a:cubicBezTo>
                  <a:lnTo>
                    <a:pt x="142" y="205"/>
                  </a:lnTo>
                  <a:close/>
                  <a:moveTo>
                    <a:pt x="71" y="193"/>
                  </a:moveTo>
                  <a:cubicBezTo>
                    <a:pt x="88" y="144"/>
                    <a:pt x="88" y="144"/>
                    <a:pt x="88" y="144"/>
                  </a:cubicBezTo>
                  <a:cubicBezTo>
                    <a:pt x="103" y="166"/>
                    <a:pt x="103" y="166"/>
                    <a:pt x="103" y="166"/>
                  </a:cubicBezTo>
                  <a:lnTo>
                    <a:pt x="71" y="193"/>
                  </a:lnTo>
                  <a:close/>
                  <a:moveTo>
                    <a:pt x="3" y="83"/>
                  </a:moveTo>
                  <a:cubicBezTo>
                    <a:pt x="78" y="135"/>
                    <a:pt x="78" y="135"/>
                    <a:pt x="78" y="135"/>
                  </a:cubicBezTo>
                  <a:cubicBezTo>
                    <a:pt x="53" y="209"/>
                    <a:pt x="53" y="209"/>
                    <a:pt x="53" y="209"/>
                  </a:cubicBezTo>
                  <a:cubicBezTo>
                    <a:pt x="52" y="211"/>
                    <a:pt x="53" y="214"/>
                    <a:pt x="55" y="216"/>
                  </a:cubicBezTo>
                  <a:cubicBezTo>
                    <a:pt x="57" y="217"/>
                    <a:pt x="61" y="217"/>
                    <a:pt x="63" y="215"/>
                  </a:cubicBezTo>
                  <a:cubicBezTo>
                    <a:pt x="109" y="176"/>
                    <a:pt x="109" y="176"/>
                    <a:pt x="109" y="176"/>
                  </a:cubicBezTo>
                  <a:cubicBezTo>
                    <a:pt x="138" y="219"/>
                    <a:pt x="138" y="219"/>
                    <a:pt x="138" y="219"/>
                  </a:cubicBezTo>
                  <a:cubicBezTo>
                    <a:pt x="139" y="221"/>
                    <a:pt x="141" y="222"/>
                    <a:pt x="143" y="222"/>
                  </a:cubicBezTo>
                  <a:cubicBezTo>
                    <a:pt x="145" y="222"/>
                    <a:pt x="147" y="221"/>
                    <a:pt x="148" y="219"/>
                  </a:cubicBezTo>
                  <a:cubicBezTo>
                    <a:pt x="271" y="11"/>
                    <a:pt x="271" y="11"/>
                    <a:pt x="271" y="11"/>
                  </a:cubicBezTo>
                  <a:cubicBezTo>
                    <a:pt x="271" y="11"/>
                    <a:pt x="271" y="11"/>
                    <a:pt x="271" y="11"/>
                  </a:cubicBezTo>
                  <a:cubicBezTo>
                    <a:pt x="273" y="9"/>
                    <a:pt x="274" y="6"/>
                    <a:pt x="273" y="4"/>
                  </a:cubicBezTo>
                  <a:cubicBezTo>
                    <a:pt x="272" y="1"/>
                    <a:pt x="269" y="0"/>
                    <a:pt x="266" y="0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3" y="73"/>
                    <a:pt x="1" y="75"/>
                    <a:pt x="1" y="77"/>
                  </a:cubicBezTo>
                  <a:cubicBezTo>
                    <a:pt x="0" y="80"/>
                    <a:pt x="1" y="82"/>
                    <a:pt x="3" y="83"/>
                  </a:cubicBezTo>
                </a:path>
              </a:pathLst>
            </a:custGeom>
            <a:grpFill/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74545" y="1136013"/>
            <a:ext cx="720000" cy="720000"/>
            <a:chOff x="-7318376" y="5211763"/>
            <a:chExt cx="1220788" cy="1220788"/>
          </a:xfrm>
          <a:solidFill>
            <a:schemeClr val="accent1"/>
          </a:solidFill>
        </p:grpSpPr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-7318376" y="5211763"/>
              <a:ext cx="1220788" cy="1220788"/>
            </a:xfrm>
            <a:custGeom>
              <a:avLst/>
              <a:gdLst>
                <a:gd name="T0" fmla="*/ 212 w 424"/>
                <a:gd name="T1" fmla="*/ 408 h 424"/>
                <a:gd name="T2" fmla="*/ 16 w 424"/>
                <a:gd name="T3" fmla="*/ 212 h 424"/>
                <a:gd name="T4" fmla="*/ 212 w 424"/>
                <a:gd name="T5" fmla="*/ 15 h 424"/>
                <a:gd name="T6" fmla="*/ 409 w 424"/>
                <a:gd name="T7" fmla="*/ 212 h 424"/>
                <a:gd name="T8" fmla="*/ 212 w 424"/>
                <a:gd name="T9" fmla="*/ 408 h 424"/>
                <a:gd name="T10" fmla="*/ 212 w 424"/>
                <a:gd name="T11" fmla="*/ 0 h 424"/>
                <a:gd name="T12" fmla="*/ 0 w 424"/>
                <a:gd name="T13" fmla="*/ 212 h 424"/>
                <a:gd name="T14" fmla="*/ 212 w 424"/>
                <a:gd name="T15" fmla="*/ 424 h 424"/>
                <a:gd name="T16" fmla="*/ 424 w 424"/>
                <a:gd name="T17" fmla="*/ 212 h 424"/>
                <a:gd name="T18" fmla="*/ 212 w 424"/>
                <a:gd name="T19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4" h="424">
                  <a:moveTo>
                    <a:pt x="212" y="408"/>
                  </a:moveTo>
                  <a:cubicBezTo>
                    <a:pt x="104" y="408"/>
                    <a:pt x="16" y="320"/>
                    <a:pt x="16" y="212"/>
                  </a:cubicBezTo>
                  <a:cubicBezTo>
                    <a:pt x="16" y="103"/>
                    <a:pt x="104" y="15"/>
                    <a:pt x="212" y="15"/>
                  </a:cubicBezTo>
                  <a:cubicBezTo>
                    <a:pt x="321" y="15"/>
                    <a:pt x="409" y="103"/>
                    <a:pt x="409" y="212"/>
                  </a:cubicBezTo>
                  <a:cubicBezTo>
                    <a:pt x="409" y="320"/>
                    <a:pt x="321" y="408"/>
                    <a:pt x="212" y="408"/>
                  </a:cubicBezTo>
                  <a:moveTo>
                    <a:pt x="212" y="0"/>
                  </a:moveTo>
                  <a:cubicBezTo>
                    <a:pt x="96" y="0"/>
                    <a:pt x="0" y="95"/>
                    <a:pt x="0" y="212"/>
                  </a:cubicBezTo>
                  <a:cubicBezTo>
                    <a:pt x="0" y="329"/>
                    <a:pt x="96" y="424"/>
                    <a:pt x="212" y="424"/>
                  </a:cubicBezTo>
                  <a:cubicBezTo>
                    <a:pt x="329" y="424"/>
                    <a:pt x="424" y="329"/>
                    <a:pt x="424" y="212"/>
                  </a:cubicBezTo>
                  <a:cubicBezTo>
                    <a:pt x="424" y="95"/>
                    <a:pt x="329" y="0"/>
                    <a:pt x="212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-7116763" y="5568950"/>
              <a:ext cx="820738" cy="509588"/>
            </a:xfrm>
            <a:custGeom>
              <a:avLst/>
              <a:gdLst>
                <a:gd name="T0" fmla="*/ 226 w 285"/>
                <a:gd name="T1" fmla="*/ 80 h 177"/>
                <a:gd name="T2" fmla="*/ 230 w 285"/>
                <a:gd name="T3" fmla="*/ 110 h 177"/>
                <a:gd name="T4" fmla="*/ 269 w 285"/>
                <a:gd name="T5" fmla="*/ 158 h 177"/>
                <a:gd name="T6" fmla="*/ 263 w 285"/>
                <a:gd name="T7" fmla="*/ 160 h 177"/>
                <a:gd name="T8" fmla="*/ 238 w 285"/>
                <a:gd name="T9" fmla="*/ 160 h 177"/>
                <a:gd name="T10" fmla="*/ 212 w 285"/>
                <a:gd name="T11" fmla="*/ 138 h 177"/>
                <a:gd name="T12" fmla="*/ 175 w 285"/>
                <a:gd name="T13" fmla="*/ 112 h 177"/>
                <a:gd name="T14" fmla="*/ 157 w 285"/>
                <a:gd name="T15" fmla="*/ 157 h 177"/>
                <a:gd name="T16" fmla="*/ 154 w 285"/>
                <a:gd name="T17" fmla="*/ 159 h 177"/>
                <a:gd name="T18" fmla="*/ 23 w 285"/>
                <a:gd name="T19" fmla="*/ 41 h 177"/>
                <a:gd name="T20" fmla="*/ 16 w 285"/>
                <a:gd name="T21" fmla="*/ 16 h 177"/>
                <a:gd name="T22" fmla="*/ 48 w 285"/>
                <a:gd name="T23" fmla="*/ 16 h 177"/>
                <a:gd name="T24" fmla="*/ 55 w 285"/>
                <a:gd name="T25" fmla="*/ 25 h 177"/>
                <a:gd name="T26" fmla="*/ 99 w 285"/>
                <a:gd name="T27" fmla="*/ 101 h 177"/>
                <a:gd name="T28" fmla="*/ 123 w 285"/>
                <a:gd name="T29" fmla="*/ 86 h 177"/>
                <a:gd name="T30" fmla="*/ 114 w 285"/>
                <a:gd name="T31" fmla="*/ 18 h 177"/>
                <a:gd name="T32" fmla="*/ 156 w 285"/>
                <a:gd name="T33" fmla="*/ 16 h 177"/>
                <a:gd name="T34" fmla="*/ 158 w 285"/>
                <a:gd name="T35" fmla="*/ 77 h 177"/>
                <a:gd name="T36" fmla="*/ 182 w 285"/>
                <a:gd name="T37" fmla="*/ 88 h 177"/>
                <a:gd name="T38" fmla="*/ 230 w 285"/>
                <a:gd name="T39" fmla="*/ 16 h 177"/>
                <a:gd name="T40" fmla="*/ 250 w 285"/>
                <a:gd name="T41" fmla="*/ 15 h 177"/>
                <a:gd name="T42" fmla="*/ 263 w 285"/>
                <a:gd name="T43" fmla="*/ 18 h 177"/>
                <a:gd name="T44" fmla="*/ 243 w 285"/>
                <a:gd name="T45" fmla="*/ 0 h 177"/>
                <a:gd name="T46" fmla="*/ 212 w 285"/>
                <a:gd name="T47" fmla="*/ 14 h 177"/>
                <a:gd name="T48" fmla="*/ 173 w 285"/>
                <a:gd name="T49" fmla="*/ 76 h 177"/>
                <a:gd name="T50" fmla="*/ 173 w 285"/>
                <a:gd name="T51" fmla="*/ 28 h 177"/>
                <a:gd name="T52" fmla="*/ 112 w 285"/>
                <a:gd name="T53" fmla="*/ 0 h 177"/>
                <a:gd name="T54" fmla="*/ 97 w 285"/>
                <a:gd name="T55" fmla="*/ 22 h 177"/>
                <a:gd name="T56" fmla="*/ 107 w 285"/>
                <a:gd name="T57" fmla="*/ 82 h 177"/>
                <a:gd name="T58" fmla="*/ 99 w 285"/>
                <a:gd name="T59" fmla="*/ 79 h 177"/>
                <a:gd name="T60" fmla="*/ 67 w 285"/>
                <a:gd name="T61" fmla="*/ 13 h 177"/>
                <a:gd name="T62" fmla="*/ 17 w 285"/>
                <a:gd name="T63" fmla="*/ 0 h 177"/>
                <a:gd name="T64" fmla="*/ 1 w 285"/>
                <a:gd name="T65" fmla="*/ 21 h 177"/>
                <a:gd name="T66" fmla="*/ 104 w 285"/>
                <a:gd name="T67" fmla="*/ 166 h 177"/>
                <a:gd name="T68" fmla="*/ 173 w 285"/>
                <a:gd name="T69" fmla="*/ 145 h 177"/>
                <a:gd name="T70" fmla="*/ 175 w 285"/>
                <a:gd name="T71" fmla="*/ 128 h 177"/>
                <a:gd name="T72" fmla="*/ 210 w 285"/>
                <a:gd name="T73" fmla="*/ 158 h 177"/>
                <a:gd name="T74" fmla="*/ 239 w 285"/>
                <a:gd name="T75" fmla="*/ 175 h 177"/>
                <a:gd name="T76" fmla="*/ 271 w 285"/>
                <a:gd name="T77" fmla="*/ 175 h 177"/>
                <a:gd name="T78" fmla="*/ 273 w 285"/>
                <a:gd name="T79" fmla="*/ 134 h 177"/>
                <a:gd name="T80" fmla="*/ 236 w 285"/>
                <a:gd name="T81" fmla="*/ 93 h 177"/>
                <a:gd name="T82" fmla="*/ 272 w 285"/>
                <a:gd name="T83" fmla="*/ 36 h 177"/>
                <a:gd name="T84" fmla="*/ 266 w 285"/>
                <a:gd name="T8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5" h="177">
                  <a:moveTo>
                    <a:pt x="263" y="18"/>
                  </a:moveTo>
                  <a:cubicBezTo>
                    <a:pt x="262" y="22"/>
                    <a:pt x="260" y="25"/>
                    <a:pt x="258" y="29"/>
                  </a:cubicBezTo>
                  <a:cubicBezTo>
                    <a:pt x="249" y="46"/>
                    <a:pt x="238" y="63"/>
                    <a:pt x="226" y="80"/>
                  </a:cubicBezTo>
                  <a:cubicBezTo>
                    <a:pt x="225" y="82"/>
                    <a:pt x="224" y="84"/>
                    <a:pt x="223" y="86"/>
                  </a:cubicBezTo>
                  <a:cubicBezTo>
                    <a:pt x="220" y="91"/>
                    <a:pt x="220" y="96"/>
                    <a:pt x="223" y="101"/>
                  </a:cubicBezTo>
                  <a:cubicBezTo>
                    <a:pt x="225" y="104"/>
                    <a:pt x="227" y="107"/>
                    <a:pt x="230" y="110"/>
                  </a:cubicBezTo>
                  <a:cubicBezTo>
                    <a:pt x="242" y="121"/>
                    <a:pt x="252" y="132"/>
                    <a:pt x="261" y="144"/>
                  </a:cubicBezTo>
                  <a:cubicBezTo>
                    <a:pt x="264" y="148"/>
                    <a:pt x="266" y="152"/>
                    <a:pt x="268" y="155"/>
                  </a:cubicBezTo>
                  <a:cubicBezTo>
                    <a:pt x="268" y="156"/>
                    <a:pt x="269" y="157"/>
                    <a:pt x="269" y="158"/>
                  </a:cubicBezTo>
                  <a:cubicBezTo>
                    <a:pt x="270" y="160"/>
                    <a:pt x="270" y="160"/>
                    <a:pt x="270" y="160"/>
                  </a:cubicBezTo>
                  <a:cubicBezTo>
                    <a:pt x="268" y="160"/>
                    <a:pt x="268" y="160"/>
                    <a:pt x="268" y="160"/>
                  </a:cubicBezTo>
                  <a:cubicBezTo>
                    <a:pt x="266" y="160"/>
                    <a:pt x="265" y="160"/>
                    <a:pt x="263" y="160"/>
                  </a:cubicBezTo>
                  <a:cubicBezTo>
                    <a:pt x="261" y="160"/>
                    <a:pt x="258" y="160"/>
                    <a:pt x="256" y="160"/>
                  </a:cubicBezTo>
                  <a:cubicBezTo>
                    <a:pt x="250" y="160"/>
                    <a:pt x="244" y="160"/>
                    <a:pt x="239" y="160"/>
                  </a:cubicBezTo>
                  <a:cubicBezTo>
                    <a:pt x="238" y="160"/>
                    <a:pt x="238" y="160"/>
                    <a:pt x="238" y="160"/>
                  </a:cubicBezTo>
                  <a:cubicBezTo>
                    <a:pt x="234" y="160"/>
                    <a:pt x="232" y="159"/>
                    <a:pt x="229" y="156"/>
                  </a:cubicBezTo>
                  <a:cubicBezTo>
                    <a:pt x="227" y="153"/>
                    <a:pt x="224" y="150"/>
                    <a:pt x="221" y="147"/>
                  </a:cubicBezTo>
                  <a:cubicBezTo>
                    <a:pt x="218" y="144"/>
                    <a:pt x="215" y="141"/>
                    <a:pt x="212" y="138"/>
                  </a:cubicBezTo>
                  <a:cubicBezTo>
                    <a:pt x="205" y="130"/>
                    <a:pt x="198" y="124"/>
                    <a:pt x="191" y="119"/>
                  </a:cubicBezTo>
                  <a:cubicBezTo>
                    <a:pt x="187" y="116"/>
                    <a:pt x="182" y="113"/>
                    <a:pt x="176" y="112"/>
                  </a:cubicBezTo>
                  <a:cubicBezTo>
                    <a:pt x="176" y="112"/>
                    <a:pt x="175" y="112"/>
                    <a:pt x="175" y="112"/>
                  </a:cubicBezTo>
                  <a:cubicBezTo>
                    <a:pt x="170" y="111"/>
                    <a:pt x="165" y="112"/>
                    <a:pt x="162" y="115"/>
                  </a:cubicBezTo>
                  <a:cubicBezTo>
                    <a:pt x="159" y="118"/>
                    <a:pt x="158" y="122"/>
                    <a:pt x="158" y="127"/>
                  </a:cubicBezTo>
                  <a:cubicBezTo>
                    <a:pt x="158" y="133"/>
                    <a:pt x="158" y="157"/>
                    <a:pt x="157" y="157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56" y="159"/>
                    <a:pt x="156" y="159"/>
                    <a:pt x="156" y="159"/>
                  </a:cubicBezTo>
                  <a:cubicBezTo>
                    <a:pt x="156" y="159"/>
                    <a:pt x="155" y="159"/>
                    <a:pt x="154" y="159"/>
                  </a:cubicBezTo>
                  <a:cubicBezTo>
                    <a:pt x="140" y="161"/>
                    <a:pt x="125" y="159"/>
                    <a:pt x="111" y="152"/>
                  </a:cubicBezTo>
                  <a:cubicBezTo>
                    <a:pt x="93" y="144"/>
                    <a:pt x="78" y="132"/>
                    <a:pt x="66" y="116"/>
                  </a:cubicBezTo>
                  <a:cubicBezTo>
                    <a:pt x="47" y="91"/>
                    <a:pt x="33" y="66"/>
                    <a:pt x="23" y="41"/>
                  </a:cubicBezTo>
                  <a:cubicBezTo>
                    <a:pt x="20" y="34"/>
                    <a:pt x="17" y="26"/>
                    <a:pt x="16" y="1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5" y="15"/>
                    <a:pt x="33" y="15"/>
                    <a:pt x="40" y="15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0" y="16"/>
                    <a:pt x="51" y="16"/>
                    <a:pt x="52" y="19"/>
                  </a:cubicBezTo>
                  <a:cubicBezTo>
                    <a:pt x="53" y="21"/>
                    <a:pt x="54" y="23"/>
                    <a:pt x="54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6" y="29"/>
                    <a:pt x="57" y="33"/>
                    <a:pt x="59" y="36"/>
                  </a:cubicBezTo>
                  <a:cubicBezTo>
                    <a:pt x="67" y="57"/>
                    <a:pt x="76" y="74"/>
                    <a:pt x="87" y="88"/>
                  </a:cubicBezTo>
                  <a:cubicBezTo>
                    <a:pt x="90" y="92"/>
                    <a:pt x="94" y="97"/>
                    <a:pt x="99" y="101"/>
                  </a:cubicBezTo>
                  <a:cubicBezTo>
                    <a:pt x="101" y="103"/>
                    <a:pt x="103" y="104"/>
                    <a:pt x="107" y="105"/>
                  </a:cubicBezTo>
                  <a:cubicBezTo>
                    <a:pt x="114" y="107"/>
                    <a:pt x="120" y="103"/>
                    <a:pt x="122" y="96"/>
                  </a:cubicBezTo>
                  <a:cubicBezTo>
                    <a:pt x="123" y="93"/>
                    <a:pt x="123" y="89"/>
                    <a:pt x="123" y="86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3" y="69"/>
                    <a:pt x="123" y="57"/>
                    <a:pt x="123" y="44"/>
                  </a:cubicBezTo>
                  <a:cubicBezTo>
                    <a:pt x="122" y="34"/>
                    <a:pt x="119" y="25"/>
                    <a:pt x="114" y="18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29" y="15"/>
                    <a:pt x="142" y="15"/>
                    <a:pt x="156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8" y="21"/>
                    <a:pt x="158" y="67"/>
                    <a:pt x="158" y="77"/>
                  </a:cubicBezTo>
                  <a:cubicBezTo>
                    <a:pt x="158" y="79"/>
                    <a:pt x="158" y="83"/>
                    <a:pt x="160" y="87"/>
                  </a:cubicBezTo>
                  <a:cubicBezTo>
                    <a:pt x="163" y="92"/>
                    <a:pt x="168" y="94"/>
                    <a:pt x="173" y="93"/>
                  </a:cubicBezTo>
                  <a:cubicBezTo>
                    <a:pt x="177" y="92"/>
                    <a:pt x="180" y="90"/>
                    <a:pt x="182" y="88"/>
                  </a:cubicBezTo>
                  <a:cubicBezTo>
                    <a:pt x="189" y="83"/>
                    <a:pt x="194" y="76"/>
                    <a:pt x="198" y="71"/>
                  </a:cubicBezTo>
                  <a:cubicBezTo>
                    <a:pt x="209" y="56"/>
                    <a:pt x="218" y="39"/>
                    <a:pt x="227" y="20"/>
                  </a:cubicBezTo>
                  <a:cubicBezTo>
                    <a:pt x="228" y="17"/>
                    <a:pt x="229" y="16"/>
                    <a:pt x="230" y="16"/>
                  </a:cubicBezTo>
                  <a:cubicBezTo>
                    <a:pt x="231" y="16"/>
                    <a:pt x="231" y="16"/>
                    <a:pt x="232" y="16"/>
                  </a:cubicBezTo>
                  <a:cubicBezTo>
                    <a:pt x="232" y="16"/>
                    <a:pt x="233" y="16"/>
                    <a:pt x="233" y="16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53" y="15"/>
                    <a:pt x="257" y="15"/>
                    <a:pt x="261" y="16"/>
                  </a:cubicBezTo>
                  <a:cubicBezTo>
                    <a:pt x="264" y="16"/>
                    <a:pt x="264" y="16"/>
                    <a:pt x="264" y="16"/>
                  </a:cubicBezTo>
                  <a:lnTo>
                    <a:pt x="263" y="18"/>
                  </a:lnTo>
                  <a:close/>
                  <a:moveTo>
                    <a:pt x="266" y="0"/>
                  </a:moveTo>
                  <a:cubicBezTo>
                    <a:pt x="264" y="0"/>
                    <a:pt x="263" y="0"/>
                    <a:pt x="261" y="0"/>
                  </a:cubicBezTo>
                  <a:cubicBezTo>
                    <a:pt x="255" y="0"/>
                    <a:pt x="249" y="0"/>
                    <a:pt x="243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31" y="0"/>
                    <a:pt x="229" y="0"/>
                    <a:pt x="226" y="1"/>
                  </a:cubicBezTo>
                  <a:cubicBezTo>
                    <a:pt x="220" y="2"/>
                    <a:pt x="215" y="7"/>
                    <a:pt x="212" y="14"/>
                  </a:cubicBezTo>
                  <a:cubicBezTo>
                    <a:pt x="204" y="32"/>
                    <a:pt x="196" y="48"/>
                    <a:pt x="186" y="61"/>
                  </a:cubicBezTo>
                  <a:cubicBezTo>
                    <a:pt x="183" y="65"/>
                    <a:pt x="180" y="69"/>
                    <a:pt x="176" y="73"/>
                  </a:cubicBezTo>
                  <a:cubicBezTo>
                    <a:pt x="173" y="76"/>
                    <a:pt x="173" y="76"/>
                    <a:pt x="173" y="76"/>
                  </a:cubicBezTo>
                  <a:cubicBezTo>
                    <a:pt x="173" y="72"/>
                    <a:pt x="173" y="72"/>
                    <a:pt x="173" y="72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73" y="48"/>
                    <a:pt x="173" y="30"/>
                    <a:pt x="173" y="28"/>
                  </a:cubicBezTo>
                  <a:cubicBezTo>
                    <a:pt x="173" y="24"/>
                    <a:pt x="173" y="20"/>
                    <a:pt x="173" y="16"/>
                  </a:cubicBezTo>
                  <a:cubicBezTo>
                    <a:pt x="172" y="5"/>
                    <a:pt x="166" y="0"/>
                    <a:pt x="156" y="0"/>
                  </a:cubicBezTo>
                  <a:cubicBezTo>
                    <a:pt x="141" y="0"/>
                    <a:pt x="126" y="0"/>
                    <a:pt x="112" y="0"/>
                  </a:cubicBezTo>
                  <a:cubicBezTo>
                    <a:pt x="110" y="0"/>
                    <a:pt x="108" y="0"/>
                    <a:pt x="107" y="0"/>
                  </a:cubicBezTo>
                  <a:cubicBezTo>
                    <a:pt x="102" y="2"/>
                    <a:pt x="98" y="5"/>
                    <a:pt x="97" y="9"/>
                  </a:cubicBezTo>
                  <a:cubicBezTo>
                    <a:pt x="95" y="13"/>
                    <a:pt x="95" y="18"/>
                    <a:pt x="97" y="22"/>
                  </a:cubicBezTo>
                  <a:cubicBezTo>
                    <a:pt x="98" y="24"/>
                    <a:pt x="100" y="25"/>
                    <a:pt x="101" y="27"/>
                  </a:cubicBezTo>
                  <a:cubicBezTo>
                    <a:pt x="105" y="32"/>
                    <a:pt x="107" y="37"/>
                    <a:pt x="107" y="44"/>
                  </a:cubicBezTo>
                  <a:cubicBezTo>
                    <a:pt x="107" y="57"/>
                    <a:pt x="107" y="69"/>
                    <a:pt x="107" y="82"/>
                  </a:cubicBezTo>
                  <a:cubicBezTo>
                    <a:pt x="107" y="88"/>
                    <a:pt x="107" y="88"/>
                    <a:pt x="107" y="88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2" y="83"/>
                    <a:pt x="101" y="81"/>
                    <a:pt x="99" y="79"/>
                  </a:cubicBezTo>
                  <a:cubicBezTo>
                    <a:pt x="90" y="66"/>
                    <a:pt x="81" y="50"/>
                    <a:pt x="73" y="30"/>
                  </a:cubicBezTo>
                  <a:cubicBezTo>
                    <a:pt x="72" y="27"/>
                    <a:pt x="70" y="23"/>
                    <a:pt x="69" y="20"/>
                  </a:cubicBezTo>
                  <a:cubicBezTo>
                    <a:pt x="68" y="18"/>
                    <a:pt x="67" y="15"/>
                    <a:pt x="67" y="13"/>
                  </a:cubicBezTo>
                  <a:cubicBezTo>
                    <a:pt x="63" y="5"/>
                    <a:pt x="57" y="0"/>
                    <a:pt x="48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3" y="0"/>
                    <a:pt x="25" y="0"/>
                    <a:pt x="17" y="0"/>
                  </a:cubicBezTo>
                  <a:cubicBezTo>
                    <a:pt x="11" y="0"/>
                    <a:pt x="7" y="2"/>
                    <a:pt x="4" y="6"/>
                  </a:cubicBezTo>
                  <a:cubicBezTo>
                    <a:pt x="1" y="9"/>
                    <a:pt x="0" y="14"/>
                    <a:pt x="1" y="2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31"/>
                    <a:pt x="6" y="40"/>
                    <a:pt x="8" y="46"/>
                  </a:cubicBezTo>
                  <a:cubicBezTo>
                    <a:pt x="19" y="73"/>
                    <a:pt x="33" y="99"/>
                    <a:pt x="53" y="125"/>
                  </a:cubicBezTo>
                  <a:cubicBezTo>
                    <a:pt x="67" y="143"/>
                    <a:pt x="84" y="157"/>
                    <a:pt x="104" y="166"/>
                  </a:cubicBezTo>
                  <a:cubicBezTo>
                    <a:pt x="122" y="174"/>
                    <a:pt x="139" y="177"/>
                    <a:pt x="156" y="175"/>
                  </a:cubicBezTo>
                  <a:cubicBezTo>
                    <a:pt x="168" y="173"/>
                    <a:pt x="173" y="167"/>
                    <a:pt x="173" y="155"/>
                  </a:cubicBezTo>
                  <a:cubicBezTo>
                    <a:pt x="173" y="145"/>
                    <a:pt x="173" y="145"/>
                    <a:pt x="173" y="145"/>
                  </a:cubicBezTo>
                  <a:cubicBezTo>
                    <a:pt x="173" y="140"/>
                    <a:pt x="173" y="134"/>
                    <a:pt x="173" y="129"/>
                  </a:cubicBezTo>
                  <a:cubicBezTo>
                    <a:pt x="173" y="127"/>
                    <a:pt x="173" y="127"/>
                    <a:pt x="173" y="127"/>
                  </a:cubicBezTo>
                  <a:cubicBezTo>
                    <a:pt x="175" y="128"/>
                    <a:pt x="175" y="128"/>
                    <a:pt x="175" y="128"/>
                  </a:cubicBezTo>
                  <a:cubicBezTo>
                    <a:pt x="178" y="129"/>
                    <a:pt x="180" y="130"/>
                    <a:pt x="182" y="132"/>
                  </a:cubicBezTo>
                  <a:cubicBezTo>
                    <a:pt x="188" y="136"/>
                    <a:pt x="194" y="141"/>
                    <a:pt x="201" y="148"/>
                  </a:cubicBezTo>
                  <a:cubicBezTo>
                    <a:pt x="204" y="151"/>
                    <a:pt x="207" y="155"/>
                    <a:pt x="210" y="158"/>
                  </a:cubicBezTo>
                  <a:cubicBezTo>
                    <a:pt x="213" y="161"/>
                    <a:pt x="215" y="164"/>
                    <a:pt x="218" y="167"/>
                  </a:cubicBezTo>
                  <a:cubicBezTo>
                    <a:pt x="223" y="173"/>
                    <a:pt x="230" y="175"/>
                    <a:pt x="238" y="175"/>
                  </a:cubicBezTo>
                  <a:cubicBezTo>
                    <a:pt x="239" y="175"/>
                    <a:pt x="239" y="175"/>
                    <a:pt x="239" y="175"/>
                  </a:cubicBezTo>
                  <a:cubicBezTo>
                    <a:pt x="245" y="175"/>
                    <a:pt x="250" y="175"/>
                    <a:pt x="256" y="175"/>
                  </a:cubicBezTo>
                  <a:cubicBezTo>
                    <a:pt x="259" y="175"/>
                    <a:pt x="262" y="175"/>
                    <a:pt x="265" y="175"/>
                  </a:cubicBezTo>
                  <a:cubicBezTo>
                    <a:pt x="267" y="175"/>
                    <a:pt x="269" y="175"/>
                    <a:pt x="271" y="175"/>
                  </a:cubicBezTo>
                  <a:cubicBezTo>
                    <a:pt x="280" y="174"/>
                    <a:pt x="285" y="167"/>
                    <a:pt x="285" y="158"/>
                  </a:cubicBezTo>
                  <a:cubicBezTo>
                    <a:pt x="285" y="154"/>
                    <a:pt x="283" y="151"/>
                    <a:pt x="282" y="148"/>
                  </a:cubicBezTo>
                  <a:cubicBezTo>
                    <a:pt x="279" y="143"/>
                    <a:pt x="276" y="138"/>
                    <a:pt x="273" y="134"/>
                  </a:cubicBezTo>
                  <a:cubicBezTo>
                    <a:pt x="264" y="122"/>
                    <a:pt x="253" y="110"/>
                    <a:pt x="241" y="99"/>
                  </a:cubicBezTo>
                  <a:cubicBezTo>
                    <a:pt x="239" y="97"/>
                    <a:pt x="238" y="95"/>
                    <a:pt x="237" y="94"/>
                  </a:cubicBezTo>
                  <a:cubicBezTo>
                    <a:pt x="236" y="93"/>
                    <a:pt x="236" y="93"/>
                    <a:pt x="236" y="93"/>
                  </a:cubicBezTo>
                  <a:cubicBezTo>
                    <a:pt x="237" y="92"/>
                    <a:pt x="237" y="92"/>
                    <a:pt x="237" y="92"/>
                  </a:cubicBezTo>
                  <a:cubicBezTo>
                    <a:pt x="237" y="91"/>
                    <a:pt x="238" y="90"/>
                    <a:pt x="239" y="89"/>
                  </a:cubicBezTo>
                  <a:cubicBezTo>
                    <a:pt x="251" y="71"/>
                    <a:pt x="263" y="54"/>
                    <a:pt x="272" y="36"/>
                  </a:cubicBezTo>
                  <a:cubicBezTo>
                    <a:pt x="275" y="31"/>
                    <a:pt x="277" y="25"/>
                    <a:pt x="279" y="19"/>
                  </a:cubicBezTo>
                  <a:cubicBezTo>
                    <a:pt x="280" y="13"/>
                    <a:pt x="278" y="9"/>
                    <a:pt x="277" y="6"/>
                  </a:cubicBezTo>
                  <a:cubicBezTo>
                    <a:pt x="275" y="4"/>
                    <a:pt x="272" y="1"/>
                    <a:pt x="266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115312" y="1136013"/>
            <a:ext cx="720000" cy="720000"/>
            <a:chOff x="-5138738" y="5160963"/>
            <a:chExt cx="1220788" cy="1220788"/>
          </a:xfrm>
          <a:solidFill>
            <a:schemeClr val="accent1"/>
          </a:solidFill>
        </p:grpSpPr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-4908551" y="5391150"/>
              <a:ext cx="685800" cy="685800"/>
            </a:xfrm>
            <a:custGeom>
              <a:avLst/>
              <a:gdLst>
                <a:gd name="T0" fmla="*/ 88 w 238"/>
                <a:gd name="T1" fmla="*/ 160 h 238"/>
                <a:gd name="T2" fmla="*/ 15 w 238"/>
                <a:gd name="T3" fmla="*/ 87 h 238"/>
                <a:gd name="T4" fmla="*/ 88 w 238"/>
                <a:gd name="T5" fmla="*/ 15 h 238"/>
                <a:gd name="T6" fmla="*/ 161 w 238"/>
                <a:gd name="T7" fmla="*/ 87 h 238"/>
                <a:gd name="T8" fmla="*/ 88 w 238"/>
                <a:gd name="T9" fmla="*/ 160 h 238"/>
                <a:gd name="T10" fmla="*/ 235 w 238"/>
                <a:gd name="T11" fmla="*/ 225 h 238"/>
                <a:gd name="T12" fmla="*/ 155 w 238"/>
                <a:gd name="T13" fmla="*/ 144 h 238"/>
                <a:gd name="T14" fmla="*/ 155 w 238"/>
                <a:gd name="T15" fmla="*/ 143 h 238"/>
                <a:gd name="T16" fmla="*/ 175 w 238"/>
                <a:gd name="T17" fmla="*/ 87 h 238"/>
                <a:gd name="T18" fmla="*/ 88 w 238"/>
                <a:gd name="T19" fmla="*/ 0 h 238"/>
                <a:gd name="T20" fmla="*/ 0 w 238"/>
                <a:gd name="T21" fmla="*/ 87 h 238"/>
                <a:gd name="T22" fmla="*/ 88 w 238"/>
                <a:gd name="T23" fmla="*/ 175 h 238"/>
                <a:gd name="T24" fmla="*/ 143 w 238"/>
                <a:gd name="T25" fmla="*/ 155 h 238"/>
                <a:gd name="T26" fmla="*/ 144 w 238"/>
                <a:gd name="T27" fmla="*/ 154 h 238"/>
                <a:gd name="T28" fmla="*/ 225 w 238"/>
                <a:gd name="T29" fmla="*/ 235 h 238"/>
                <a:gd name="T30" fmla="*/ 235 w 238"/>
                <a:gd name="T31" fmla="*/ 235 h 238"/>
                <a:gd name="T32" fmla="*/ 238 w 238"/>
                <a:gd name="T33" fmla="*/ 230 h 238"/>
                <a:gd name="T34" fmla="*/ 235 w 238"/>
                <a:gd name="T35" fmla="*/ 225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8" h="238">
                  <a:moveTo>
                    <a:pt x="88" y="160"/>
                  </a:moveTo>
                  <a:cubicBezTo>
                    <a:pt x="48" y="160"/>
                    <a:pt x="15" y="128"/>
                    <a:pt x="15" y="87"/>
                  </a:cubicBezTo>
                  <a:cubicBezTo>
                    <a:pt x="15" y="47"/>
                    <a:pt x="48" y="15"/>
                    <a:pt x="88" y="15"/>
                  </a:cubicBezTo>
                  <a:cubicBezTo>
                    <a:pt x="128" y="15"/>
                    <a:pt x="161" y="47"/>
                    <a:pt x="161" y="87"/>
                  </a:cubicBezTo>
                  <a:cubicBezTo>
                    <a:pt x="161" y="128"/>
                    <a:pt x="128" y="160"/>
                    <a:pt x="88" y="160"/>
                  </a:cubicBezTo>
                  <a:moveTo>
                    <a:pt x="235" y="225"/>
                  </a:moveTo>
                  <a:cubicBezTo>
                    <a:pt x="155" y="144"/>
                    <a:pt x="155" y="144"/>
                    <a:pt x="155" y="144"/>
                  </a:cubicBezTo>
                  <a:cubicBezTo>
                    <a:pt x="155" y="143"/>
                    <a:pt x="155" y="143"/>
                    <a:pt x="155" y="143"/>
                  </a:cubicBezTo>
                  <a:cubicBezTo>
                    <a:pt x="168" y="127"/>
                    <a:pt x="175" y="108"/>
                    <a:pt x="175" y="87"/>
                  </a:cubicBezTo>
                  <a:cubicBezTo>
                    <a:pt x="175" y="39"/>
                    <a:pt x="136" y="0"/>
                    <a:pt x="88" y="0"/>
                  </a:cubicBezTo>
                  <a:cubicBezTo>
                    <a:pt x="40" y="0"/>
                    <a:pt x="0" y="39"/>
                    <a:pt x="0" y="87"/>
                  </a:cubicBezTo>
                  <a:cubicBezTo>
                    <a:pt x="0" y="136"/>
                    <a:pt x="40" y="175"/>
                    <a:pt x="88" y="175"/>
                  </a:cubicBezTo>
                  <a:cubicBezTo>
                    <a:pt x="108" y="175"/>
                    <a:pt x="128" y="168"/>
                    <a:pt x="143" y="155"/>
                  </a:cubicBezTo>
                  <a:cubicBezTo>
                    <a:pt x="144" y="154"/>
                    <a:pt x="144" y="154"/>
                    <a:pt x="144" y="154"/>
                  </a:cubicBezTo>
                  <a:cubicBezTo>
                    <a:pt x="225" y="235"/>
                    <a:pt x="225" y="235"/>
                    <a:pt x="225" y="235"/>
                  </a:cubicBezTo>
                  <a:cubicBezTo>
                    <a:pt x="228" y="238"/>
                    <a:pt x="233" y="238"/>
                    <a:pt x="235" y="235"/>
                  </a:cubicBezTo>
                  <a:cubicBezTo>
                    <a:pt x="237" y="234"/>
                    <a:pt x="238" y="232"/>
                    <a:pt x="238" y="230"/>
                  </a:cubicBezTo>
                  <a:cubicBezTo>
                    <a:pt x="238" y="228"/>
                    <a:pt x="237" y="226"/>
                    <a:pt x="235" y="2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-5138738" y="5160963"/>
              <a:ext cx="1220788" cy="1220788"/>
            </a:xfrm>
            <a:custGeom>
              <a:avLst/>
              <a:gdLst>
                <a:gd name="T0" fmla="*/ 212 w 424"/>
                <a:gd name="T1" fmla="*/ 409 h 424"/>
                <a:gd name="T2" fmla="*/ 15 w 424"/>
                <a:gd name="T3" fmla="*/ 212 h 424"/>
                <a:gd name="T4" fmla="*/ 212 w 424"/>
                <a:gd name="T5" fmla="*/ 15 h 424"/>
                <a:gd name="T6" fmla="*/ 410 w 424"/>
                <a:gd name="T7" fmla="*/ 212 h 424"/>
                <a:gd name="T8" fmla="*/ 212 w 424"/>
                <a:gd name="T9" fmla="*/ 409 h 424"/>
                <a:gd name="T10" fmla="*/ 212 w 424"/>
                <a:gd name="T11" fmla="*/ 0 h 424"/>
                <a:gd name="T12" fmla="*/ 0 w 424"/>
                <a:gd name="T13" fmla="*/ 212 h 424"/>
                <a:gd name="T14" fmla="*/ 212 w 424"/>
                <a:gd name="T15" fmla="*/ 424 h 424"/>
                <a:gd name="T16" fmla="*/ 424 w 424"/>
                <a:gd name="T17" fmla="*/ 212 h 424"/>
                <a:gd name="T18" fmla="*/ 212 w 424"/>
                <a:gd name="T19" fmla="*/ 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4" h="424">
                  <a:moveTo>
                    <a:pt x="212" y="409"/>
                  </a:moveTo>
                  <a:cubicBezTo>
                    <a:pt x="103" y="409"/>
                    <a:pt x="15" y="321"/>
                    <a:pt x="15" y="212"/>
                  </a:cubicBezTo>
                  <a:cubicBezTo>
                    <a:pt x="15" y="103"/>
                    <a:pt x="103" y="15"/>
                    <a:pt x="212" y="15"/>
                  </a:cubicBezTo>
                  <a:cubicBezTo>
                    <a:pt x="321" y="15"/>
                    <a:pt x="410" y="103"/>
                    <a:pt x="410" y="212"/>
                  </a:cubicBezTo>
                  <a:cubicBezTo>
                    <a:pt x="410" y="321"/>
                    <a:pt x="321" y="409"/>
                    <a:pt x="212" y="409"/>
                  </a:cubicBezTo>
                  <a:moveTo>
                    <a:pt x="212" y="0"/>
                  </a:move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  <a:cubicBezTo>
                    <a:pt x="329" y="424"/>
                    <a:pt x="424" y="329"/>
                    <a:pt x="424" y="212"/>
                  </a:cubicBezTo>
                  <a:cubicBezTo>
                    <a:pt x="424" y="95"/>
                    <a:pt x="329" y="0"/>
                    <a:pt x="212" y="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474545" y="3864315"/>
            <a:ext cx="720000" cy="720000"/>
            <a:chOff x="-7121526" y="7096125"/>
            <a:chExt cx="1219200" cy="1219200"/>
          </a:xfrm>
          <a:solidFill>
            <a:schemeClr val="accent1"/>
          </a:solidFill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-7121526" y="7096125"/>
              <a:ext cx="1219200" cy="1219200"/>
            </a:xfrm>
            <a:custGeom>
              <a:avLst/>
              <a:gdLst>
                <a:gd name="T0" fmla="*/ 212 w 424"/>
                <a:gd name="T1" fmla="*/ 12 h 424"/>
                <a:gd name="T2" fmla="*/ 412 w 424"/>
                <a:gd name="T3" fmla="*/ 212 h 424"/>
                <a:gd name="T4" fmla="*/ 212 w 424"/>
                <a:gd name="T5" fmla="*/ 412 h 424"/>
                <a:gd name="T6" fmla="*/ 12 w 424"/>
                <a:gd name="T7" fmla="*/ 212 h 424"/>
                <a:gd name="T8" fmla="*/ 212 w 424"/>
                <a:gd name="T9" fmla="*/ 12 h 424"/>
                <a:gd name="T10" fmla="*/ 212 w 424"/>
                <a:gd name="T11" fmla="*/ 424 h 424"/>
                <a:gd name="T12" fmla="*/ 424 w 424"/>
                <a:gd name="T13" fmla="*/ 212 h 424"/>
                <a:gd name="T14" fmla="*/ 212 w 424"/>
                <a:gd name="T15" fmla="*/ 0 h 424"/>
                <a:gd name="T16" fmla="*/ 0 w 424"/>
                <a:gd name="T17" fmla="*/ 212 h 424"/>
                <a:gd name="T18" fmla="*/ 212 w 424"/>
                <a:gd name="T19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4" h="424">
                  <a:moveTo>
                    <a:pt x="212" y="12"/>
                  </a:moveTo>
                  <a:cubicBezTo>
                    <a:pt x="322" y="12"/>
                    <a:pt x="412" y="102"/>
                    <a:pt x="412" y="212"/>
                  </a:cubicBezTo>
                  <a:cubicBezTo>
                    <a:pt x="412" y="322"/>
                    <a:pt x="322" y="412"/>
                    <a:pt x="212" y="412"/>
                  </a:cubicBezTo>
                  <a:cubicBezTo>
                    <a:pt x="101" y="412"/>
                    <a:pt x="12" y="322"/>
                    <a:pt x="12" y="212"/>
                  </a:cubicBezTo>
                  <a:cubicBezTo>
                    <a:pt x="12" y="102"/>
                    <a:pt x="101" y="12"/>
                    <a:pt x="212" y="12"/>
                  </a:cubicBezTo>
                  <a:moveTo>
                    <a:pt x="212" y="424"/>
                  </a:moveTo>
                  <a:cubicBezTo>
                    <a:pt x="329" y="424"/>
                    <a:pt x="424" y="329"/>
                    <a:pt x="424" y="212"/>
                  </a:cubicBezTo>
                  <a:cubicBezTo>
                    <a:pt x="424" y="95"/>
                    <a:pt x="329" y="0"/>
                    <a:pt x="212" y="0"/>
                  </a:cubicBezTo>
                  <a:cubicBezTo>
                    <a:pt x="95" y="0"/>
                    <a:pt x="0" y="95"/>
                    <a:pt x="0" y="212"/>
                  </a:cubicBezTo>
                  <a:cubicBezTo>
                    <a:pt x="0" y="329"/>
                    <a:pt x="95" y="424"/>
                    <a:pt x="212" y="424"/>
                  </a:cubicBezTo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-6831013" y="7469188"/>
              <a:ext cx="635000" cy="473075"/>
            </a:xfrm>
            <a:custGeom>
              <a:avLst/>
              <a:gdLst>
                <a:gd name="T0" fmla="*/ 12 w 221"/>
                <a:gd name="T1" fmla="*/ 49 h 164"/>
                <a:gd name="T2" fmla="*/ 49 w 221"/>
                <a:gd name="T3" fmla="*/ 12 h 164"/>
                <a:gd name="T4" fmla="*/ 173 w 221"/>
                <a:gd name="T5" fmla="*/ 12 h 164"/>
                <a:gd name="T6" fmla="*/ 209 w 221"/>
                <a:gd name="T7" fmla="*/ 49 h 164"/>
                <a:gd name="T8" fmla="*/ 209 w 221"/>
                <a:gd name="T9" fmla="*/ 115 h 164"/>
                <a:gd name="T10" fmla="*/ 173 w 221"/>
                <a:gd name="T11" fmla="*/ 152 h 164"/>
                <a:gd name="T12" fmla="*/ 49 w 221"/>
                <a:gd name="T13" fmla="*/ 152 h 164"/>
                <a:gd name="T14" fmla="*/ 12 w 221"/>
                <a:gd name="T15" fmla="*/ 115 h 164"/>
                <a:gd name="T16" fmla="*/ 12 w 221"/>
                <a:gd name="T17" fmla="*/ 49 h 164"/>
                <a:gd name="T18" fmla="*/ 49 w 221"/>
                <a:gd name="T19" fmla="*/ 164 h 164"/>
                <a:gd name="T20" fmla="*/ 173 w 221"/>
                <a:gd name="T21" fmla="*/ 164 h 164"/>
                <a:gd name="T22" fmla="*/ 221 w 221"/>
                <a:gd name="T23" fmla="*/ 115 h 164"/>
                <a:gd name="T24" fmla="*/ 221 w 221"/>
                <a:gd name="T25" fmla="*/ 49 h 164"/>
                <a:gd name="T26" fmla="*/ 173 w 221"/>
                <a:gd name="T27" fmla="*/ 0 h 164"/>
                <a:gd name="T28" fmla="*/ 49 w 221"/>
                <a:gd name="T29" fmla="*/ 0 h 164"/>
                <a:gd name="T30" fmla="*/ 0 w 221"/>
                <a:gd name="T31" fmla="*/ 49 h 164"/>
                <a:gd name="T32" fmla="*/ 0 w 221"/>
                <a:gd name="T33" fmla="*/ 115 h 164"/>
                <a:gd name="T34" fmla="*/ 49 w 221"/>
                <a:gd name="T3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1" h="164">
                  <a:moveTo>
                    <a:pt x="12" y="49"/>
                  </a:moveTo>
                  <a:cubicBezTo>
                    <a:pt x="12" y="28"/>
                    <a:pt x="29" y="12"/>
                    <a:pt x="49" y="12"/>
                  </a:cubicBezTo>
                  <a:cubicBezTo>
                    <a:pt x="173" y="12"/>
                    <a:pt x="173" y="12"/>
                    <a:pt x="173" y="12"/>
                  </a:cubicBezTo>
                  <a:cubicBezTo>
                    <a:pt x="193" y="12"/>
                    <a:pt x="209" y="28"/>
                    <a:pt x="209" y="49"/>
                  </a:cubicBezTo>
                  <a:cubicBezTo>
                    <a:pt x="209" y="115"/>
                    <a:pt x="209" y="115"/>
                    <a:pt x="209" y="115"/>
                  </a:cubicBezTo>
                  <a:cubicBezTo>
                    <a:pt x="209" y="136"/>
                    <a:pt x="193" y="152"/>
                    <a:pt x="173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29" y="152"/>
                    <a:pt x="12" y="136"/>
                    <a:pt x="12" y="115"/>
                  </a:cubicBezTo>
                  <a:lnTo>
                    <a:pt x="12" y="49"/>
                  </a:lnTo>
                  <a:close/>
                  <a:moveTo>
                    <a:pt x="49" y="164"/>
                  </a:moveTo>
                  <a:cubicBezTo>
                    <a:pt x="173" y="164"/>
                    <a:pt x="173" y="164"/>
                    <a:pt x="173" y="164"/>
                  </a:cubicBezTo>
                  <a:cubicBezTo>
                    <a:pt x="199" y="164"/>
                    <a:pt x="221" y="142"/>
                    <a:pt x="221" y="115"/>
                  </a:cubicBezTo>
                  <a:cubicBezTo>
                    <a:pt x="221" y="49"/>
                    <a:pt x="221" y="49"/>
                    <a:pt x="221" y="49"/>
                  </a:cubicBezTo>
                  <a:cubicBezTo>
                    <a:pt x="221" y="22"/>
                    <a:pt x="199" y="0"/>
                    <a:pt x="17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42"/>
                    <a:pt x="22" y="164"/>
                    <a:pt x="49" y="16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-6610351" y="7605713"/>
              <a:ext cx="196850" cy="200025"/>
            </a:xfrm>
            <a:custGeom>
              <a:avLst/>
              <a:gdLst>
                <a:gd name="T0" fmla="*/ 12 w 68"/>
                <a:gd name="T1" fmla="*/ 16 h 70"/>
                <a:gd name="T2" fmla="*/ 49 w 68"/>
                <a:gd name="T3" fmla="*/ 35 h 70"/>
                <a:gd name="T4" fmla="*/ 12 w 68"/>
                <a:gd name="T5" fmla="*/ 54 h 70"/>
                <a:gd name="T6" fmla="*/ 12 w 68"/>
                <a:gd name="T7" fmla="*/ 16 h 70"/>
                <a:gd name="T8" fmla="*/ 3 w 68"/>
                <a:gd name="T9" fmla="*/ 69 h 70"/>
                <a:gd name="T10" fmla="*/ 9 w 68"/>
                <a:gd name="T11" fmla="*/ 69 h 70"/>
                <a:gd name="T12" fmla="*/ 64 w 68"/>
                <a:gd name="T13" fmla="*/ 40 h 70"/>
                <a:gd name="T14" fmla="*/ 68 w 68"/>
                <a:gd name="T15" fmla="*/ 35 h 70"/>
                <a:gd name="T16" fmla="*/ 64 w 68"/>
                <a:gd name="T17" fmla="*/ 30 h 70"/>
                <a:gd name="T18" fmla="*/ 9 w 68"/>
                <a:gd name="T19" fmla="*/ 1 h 70"/>
                <a:gd name="T20" fmla="*/ 6 w 68"/>
                <a:gd name="T21" fmla="*/ 0 h 70"/>
                <a:gd name="T22" fmla="*/ 3 w 68"/>
                <a:gd name="T23" fmla="*/ 1 h 70"/>
                <a:gd name="T24" fmla="*/ 0 w 68"/>
                <a:gd name="T25" fmla="*/ 6 h 70"/>
                <a:gd name="T26" fmla="*/ 0 w 68"/>
                <a:gd name="T27" fmla="*/ 64 h 70"/>
                <a:gd name="T28" fmla="*/ 3 w 68"/>
                <a:gd name="T29" fmla="*/ 6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70">
                  <a:moveTo>
                    <a:pt x="12" y="16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12" y="54"/>
                    <a:pt x="12" y="54"/>
                    <a:pt x="12" y="54"/>
                  </a:cubicBezTo>
                  <a:lnTo>
                    <a:pt x="12" y="16"/>
                  </a:lnTo>
                  <a:close/>
                  <a:moveTo>
                    <a:pt x="3" y="69"/>
                  </a:moveTo>
                  <a:cubicBezTo>
                    <a:pt x="5" y="70"/>
                    <a:pt x="7" y="70"/>
                    <a:pt x="9" y="69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6" y="39"/>
                    <a:pt x="68" y="37"/>
                    <a:pt x="68" y="35"/>
                  </a:cubicBezTo>
                  <a:cubicBezTo>
                    <a:pt x="68" y="33"/>
                    <a:pt x="66" y="31"/>
                    <a:pt x="64" y="3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5" y="0"/>
                    <a:pt x="4" y="1"/>
                    <a:pt x="3" y="1"/>
                  </a:cubicBezTo>
                  <a:cubicBezTo>
                    <a:pt x="1" y="2"/>
                    <a:pt x="0" y="4"/>
                    <a:pt x="0" y="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6"/>
                    <a:pt x="1" y="68"/>
                    <a:pt x="3" y="6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87649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3295" y="136625"/>
            <a:ext cx="11277600" cy="334099"/>
          </a:xfrm>
        </p:spPr>
        <p:txBody>
          <a:bodyPr/>
          <a:lstStyle/>
          <a:p>
            <a:r>
              <a:rPr lang="ru-RU" dirty="0" smtClean="0"/>
              <a:t>Вакансии и стажировки</a:t>
            </a:r>
            <a:endParaRPr lang="en-US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3163" y="0"/>
            <a:ext cx="5943600" cy="6865620"/>
          </a:xfrm>
          <a:prstGeom prst="rect">
            <a:avLst/>
          </a:prstGeom>
        </p:spPr>
      </p:pic>
      <p:sp>
        <p:nvSpPr>
          <p:cNvPr id="73" name="Text Placeholder 18"/>
          <p:cNvSpPr txBox="1">
            <a:spLocks/>
          </p:cNvSpPr>
          <p:nvPr/>
        </p:nvSpPr>
        <p:spPr>
          <a:xfrm>
            <a:off x="463295" y="470724"/>
            <a:ext cx="4629150" cy="11387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SzPct val="100000"/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1094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6089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82" indent="-191094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157480">
              <a:spcBef>
                <a:spcPts val="300"/>
              </a:spcBef>
              <a:spcAft>
                <a:spcPts val="0"/>
              </a:spcAft>
            </a:pPr>
            <a:r>
              <a:rPr lang="ru-RU" sz="1600" spc="-5" dirty="0">
                <a:solidFill>
                  <a:schemeClr val="accent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Специалист начального уровня</a:t>
            </a:r>
            <a:br>
              <a:rPr lang="ru-RU" sz="1600" spc="-5" dirty="0">
                <a:solidFill>
                  <a:schemeClr val="accent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ru-RU" sz="1600" spc="-5" dirty="0" smtClean="0">
                <a:solidFill>
                  <a:schemeClr val="accent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в </a:t>
            </a:r>
            <a:r>
              <a:rPr lang="ru-RU" sz="1600" spc="-5" dirty="0">
                <a:solidFill>
                  <a:schemeClr val="accent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Департаменте </a:t>
            </a:r>
            <a:r>
              <a:rPr lang="ru-RU" sz="1600" spc="-5" dirty="0" smtClean="0">
                <a:solidFill>
                  <a:schemeClr val="accent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аудиторских услуг</a:t>
            </a:r>
            <a:endParaRPr lang="ru-RU" sz="1600" spc="-5" dirty="0">
              <a:solidFill>
                <a:schemeClr val="accent1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100" b="1" spc="-10" dirty="0" smtClean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сентябрь </a:t>
            </a:r>
            <a:r>
              <a:rPr lang="ru-RU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2</a:t>
            </a:r>
            <a:r>
              <a:rPr lang="en-US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4</a:t>
            </a:r>
            <a:r>
              <a:rPr lang="ru-RU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года</a:t>
            </a:r>
          </a:p>
          <a:p>
            <a:pPr algn="ctr">
              <a:spcBef>
                <a:spcPts val="12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4020202020204" charset="0"/>
                <a:cs typeface="Calibri" panose="020F0502020204030204" pitchFamily="34" charset="0"/>
              </a:rPr>
              <a:t>Наш 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ea typeface="Open Sans" panose="020B0604020202020204" charset="0"/>
                <a:cs typeface="Calibri" panose="020F0502020204030204" pitchFamily="34" charset="0"/>
              </a:rPr>
              <a:t>успешный кандидат</a:t>
            </a:r>
            <a:r>
              <a:rPr lang="ru-RU" sz="1600" b="1" dirty="0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4020202020204" charset="0"/>
                <a:cs typeface="Calibri" panose="020F0502020204030204" pitchFamily="34" charset="0"/>
              </a:rPr>
              <a:t>:</a:t>
            </a:r>
            <a:endParaRPr lang="ru-RU" sz="1600" b="1" dirty="0">
              <a:solidFill>
                <a:schemeClr val="bg1"/>
              </a:solidFill>
              <a:latin typeface="Calibri" panose="020F0502020204030204" pitchFamily="34" charset="0"/>
              <a:ea typeface="Open Sans" panose="020B0604020202020204" charset="0"/>
              <a:cs typeface="Calibri" panose="020F0502020204030204" pitchFamily="34" charset="0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417139" y="1144797"/>
            <a:ext cx="4449059" cy="1242467"/>
            <a:chOff x="201530" y="5725923"/>
            <a:chExt cx="5506499" cy="1470112"/>
          </a:xfrm>
        </p:grpSpPr>
        <p:sp>
          <p:nvSpPr>
            <p:cNvPr id="75" name="Content Placeholder 15"/>
            <p:cNvSpPr txBox="1">
              <a:spLocks/>
            </p:cNvSpPr>
            <p:nvPr/>
          </p:nvSpPr>
          <p:spPr>
            <a:xfrm>
              <a:off x="2062792" y="5875928"/>
              <a:ext cx="3645237" cy="132010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SzPct val="100000"/>
                <a:buFont typeface="Arial" panose="020B0604020202020204" pitchFamily="34" charset="0"/>
                <a:buNone/>
                <a:defRPr sz="10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ClrTx/>
                <a:buSzPct val="100000"/>
                <a:buFont typeface="Arial"/>
                <a:buNone/>
                <a:defRPr lang="en-US" sz="10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91094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86089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0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7182" indent="-191094" algn="l" defTabSz="865030" rtl="0" eaLnBrk="1" latinLnBrk="0" hangingPunct="1">
                <a:spcBef>
                  <a:spcPts val="0"/>
                </a:spcBef>
                <a:spcAft>
                  <a:spcPts val="1083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0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7182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Font typeface="Verdana" panose="020B0604030504040204" pitchFamily="34" charset="0"/>
                <a:buChar char="−"/>
                <a:defRPr sz="13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7182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Font typeface="Verdana" panose="020B0604030504040204" pitchFamily="34" charset="0"/>
                <a:buChar char="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7182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Font typeface="Verdana" panose="020B0604030504040204" pitchFamily="34" charset="0"/>
                <a:buChar char="−"/>
                <a:defRPr sz="13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7182" indent="-191094" algn="l" defTabSz="990571" rtl="0" eaLnBrk="1" latinLnBrk="0" hangingPunct="1">
                <a:spcBef>
                  <a:spcPts val="0"/>
                </a:spcBef>
                <a:spcAft>
                  <a:spcPts val="1083"/>
                </a:spcAft>
                <a:buFont typeface="Verdana" panose="020B0604030504040204" pitchFamily="34" charset="0"/>
                <a:buChar char="−"/>
                <a:defRPr sz="13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0"/>
                </a:spcAft>
              </a:pPr>
              <a:r>
                <a:rPr lang="ru-RU" sz="1100" dirty="0">
                  <a:latin typeface="Calibri" panose="020F0502020204030204" pitchFamily="34" charset="0"/>
                  <a:ea typeface="Open Sans" panose="020B0604020202020204" charset="0"/>
                  <a:cs typeface="Calibri" panose="020F0502020204030204" pitchFamily="34" charset="0"/>
                </a:rPr>
                <a:t>Отправь резюме по ссылке:</a:t>
              </a:r>
              <a:r>
                <a:rPr lang="en-US" sz="1100" dirty="0">
                  <a:latin typeface="Calibri" panose="020F0502020204030204" pitchFamily="34" charset="0"/>
                  <a:ea typeface="Open Sans" panose="020B0604020202020204" charset="0"/>
                  <a:cs typeface="Calibri" panose="020F0502020204030204" pitchFamily="34" charset="0"/>
                </a:rPr>
                <a:t>  </a:t>
              </a:r>
              <a:r>
                <a:rPr lang="en-US" sz="1600" dirty="0">
                  <a:solidFill>
                    <a:srgbClr val="00A3E0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  <a:hlinkClick r:id="rId3"/>
                </a:rPr>
                <a:t>https://novosibirsk.hh.ru/vacancy/95785907</a:t>
              </a:r>
              <a:endParaRPr lang="ru-RU" sz="160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endParaRPr>
            </a:p>
            <a:p>
              <a:pPr>
                <a:spcBef>
                  <a:spcPts val="300"/>
                </a:spcBef>
                <a:spcAft>
                  <a:spcPts val="0"/>
                </a:spcAft>
              </a:pPr>
              <a:r>
                <a:rPr lang="ru-RU" sz="1100" dirty="0" smtClean="0"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Если у тебя появятся вопросы,</a:t>
              </a:r>
              <a:r>
                <a:rPr lang="en-US" sz="1100" dirty="0" smtClean="0"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smtClean="0"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напиши </a:t>
              </a:r>
              <a:r>
                <a:rPr lang="ru-RU" sz="1100" dirty="0"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нам: </a:t>
              </a:r>
              <a:r>
                <a:rPr lang="en-US" sz="1600" dirty="0" smtClean="0">
                  <a:solidFill>
                    <a:srgbClr val="00A3E0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amentemirova@delret.ru</a:t>
              </a:r>
              <a:endParaRPr lang="ru-RU" sz="160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6" name="Picture 2" descr="http://qrcoder.ru/code/?https%3A%2F%2Fnovosibirsk.hh.ru%2Fvacancy%2F95785907&amp;4&amp;0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530" y="5725923"/>
              <a:ext cx="1450721" cy="1450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7" name="Text Placeholder 18"/>
          <p:cNvSpPr txBox="1">
            <a:spLocks/>
          </p:cNvSpPr>
          <p:nvPr/>
        </p:nvSpPr>
        <p:spPr>
          <a:xfrm>
            <a:off x="463295" y="2410347"/>
            <a:ext cx="4629150" cy="20774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SzPct val="100000"/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1094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6089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82" indent="-191094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ru-RU" sz="16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нь открытых дверей </a:t>
            </a:r>
          </a:p>
          <a:p>
            <a:pPr>
              <a:spcAft>
                <a:spcPts val="300"/>
              </a:spcAft>
            </a:pPr>
            <a:r>
              <a:rPr lang="ru-RU" sz="16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. Новосибирск, БЦ «Дабл Хилл», ул. Каменская, д. 7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</a:t>
            </a:r>
            <a:r>
              <a:rPr lang="en-US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7</a:t>
            </a:r>
            <a:r>
              <a:rPr lang="ru-RU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мая 202</a:t>
            </a:r>
            <a:r>
              <a:rPr lang="en-US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4</a:t>
            </a:r>
            <a:r>
              <a:rPr lang="ru-RU" sz="1100" b="1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года</a:t>
            </a:r>
          </a:p>
          <a:p>
            <a:pPr marL="1435100">
              <a:spcBef>
                <a:spcPts val="600"/>
              </a:spcBef>
              <a:spcAft>
                <a:spcPts val="300"/>
              </a:spcAft>
            </a:pPr>
            <a:r>
              <a:rPr lang="ru-RU" sz="1100" spc="-10" dirty="0" smtClean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Для участия зарегистрируйся по ссылке: </a:t>
            </a:r>
            <a:r>
              <a:rPr lang="en-US" sz="1600" spc="-1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hlinkClick r:id="rId5"/>
              </a:rPr>
              <a:t>https://feedback.delret.ru/#/</a:t>
            </a:r>
            <a:r>
              <a:rPr lang="en-US" sz="1600" spc="-10" dirty="0" smtClean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  <a:hlinkClick r:id="rId5"/>
              </a:rPr>
              <a:t>candidate-registration/NOD_NSB_2024</a:t>
            </a:r>
            <a:endParaRPr lang="ru-RU" sz="1600" spc="-10" dirty="0" smtClean="0">
              <a:solidFill>
                <a:srgbClr val="00A3E0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1435100">
              <a:spcBef>
                <a:spcPts val="300"/>
              </a:spcBef>
              <a:spcAft>
                <a:spcPts val="300"/>
              </a:spcAft>
            </a:pPr>
            <a:r>
              <a:rPr lang="ru-RU" sz="1100" spc="-10" dirty="0" smtClean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Остались </a:t>
            </a:r>
            <a:r>
              <a:rPr lang="ru-RU" sz="1100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вопросы? Напиши нам: </a:t>
            </a:r>
            <a:r>
              <a:rPr lang="en-US" sz="1600" spc="-10" dirty="0" smtClean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amentemirova@delret.ru</a:t>
            </a:r>
            <a:r>
              <a:rPr lang="ru-RU" sz="1600" spc="-10" dirty="0" smtClean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endParaRPr lang="en-US" sz="1100" spc="-10" dirty="0">
              <a:solidFill>
                <a:srgbClr val="231F20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139" y="3259900"/>
            <a:ext cx="1168977" cy="1168977"/>
          </a:xfrm>
          <a:prstGeom prst="rect">
            <a:avLst/>
          </a:prstGeom>
        </p:spPr>
      </p:pic>
      <p:sp>
        <p:nvSpPr>
          <p:cNvPr id="101" name="Text Placeholder 18"/>
          <p:cNvSpPr txBox="1">
            <a:spLocks/>
          </p:cNvSpPr>
          <p:nvPr/>
        </p:nvSpPr>
        <p:spPr>
          <a:xfrm>
            <a:off x="498460" y="4428877"/>
            <a:ext cx="46401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SzPct val="100000"/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1094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6089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82" indent="-191094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ru-RU" sz="16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етняя школа в новосибирском </a:t>
            </a:r>
            <a:br>
              <a:rPr lang="ru-RU" sz="16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фисе </a:t>
            </a:r>
            <a:r>
              <a:rPr lang="ru-RU" sz="16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РТ</a:t>
            </a:r>
            <a:r>
              <a:rPr lang="ru-RU" sz="1600" b="1" spc="-10" dirty="0" smtClean="0">
                <a:solidFill>
                  <a:schemeClr val="bg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участие</a:t>
            </a:r>
          </a:p>
        </p:txBody>
      </p:sp>
      <p:sp>
        <p:nvSpPr>
          <p:cNvPr id="102" name="Content Placeholder 15"/>
          <p:cNvSpPr txBox="1">
            <a:spLocks/>
          </p:cNvSpPr>
          <p:nvPr/>
        </p:nvSpPr>
        <p:spPr>
          <a:xfrm>
            <a:off x="1920974" y="4998625"/>
            <a:ext cx="3766799" cy="1154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SzPct val="100000"/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1094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6089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82" indent="-191094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100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Зарегистрируйся по ссылке: </a:t>
            </a:r>
            <a:r>
              <a:rPr lang="en-US" sz="1600" spc="-1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https://feedback.delret.ru/#/candidate-registration/NSB_SUMMERSCHOOL_2024</a:t>
            </a:r>
            <a:r>
              <a:rPr lang="ru-RU" sz="1600" spc="-1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endParaRPr lang="ru-RU" sz="1600" spc="-10" dirty="0" smtClean="0">
              <a:solidFill>
                <a:srgbClr val="00A3E0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100" spc="-10" dirty="0" smtClean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Остались вопросы? Напиши </a:t>
            </a:r>
            <a:r>
              <a:rPr lang="ru-RU" sz="1100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нам: </a:t>
            </a:r>
            <a:br>
              <a:rPr lang="ru-RU" sz="1100" spc="-10" dirty="0"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600" spc="-1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amentemirova@delret.ru</a:t>
            </a:r>
            <a:r>
              <a:rPr lang="ru-RU" sz="1600" spc="-10" dirty="0">
                <a:solidFill>
                  <a:srgbClr val="00A3E0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5842" y="4982513"/>
            <a:ext cx="1170274" cy="1170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7006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188912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42622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46393142622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85726024166413"/>
</p:tagLst>
</file>

<file path=ppt/theme/theme1.xml><?xml version="1.0" encoding="utf-8"?>
<a:theme xmlns:a="http://schemas.openxmlformats.org/drawingml/2006/main" name="2 Slides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DC63F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R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</a:spPr>
      <a:bodyPr vert="horz" lIns="36000" tIns="36000" rIns="36000" bIns="36000" rtlCol="0" anchor="ctr">
        <a:noAutofit/>
      </a:bodyPr>
      <a:lstStyle>
        <a:defPPr algn="ctr">
          <a:spcAft>
            <a:spcPts val="600"/>
          </a:spcAft>
          <a:buSzPct val="100000"/>
          <a:buFont typeface="Arial" panose="020B0604020202020204" pitchFamily="34" charset="0"/>
          <a:buNone/>
          <a:defRPr sz="1300" dirty="0" err="1" smtClean="0">
            <a:latin typeface="+mj-lt"/>
            <a:cs typeface="Calibri Light" panose="020F0302020204030204" pitchFamily="34" charset="0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RT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1 Widescreen AO RUS.potx" id="{931B6475-F357-4662-A81C-AFD0508AE5F9}" vid="{7296F3E4-AC76-401F-9B8F-AC13252EDA0A}"/>
    </a:ext>
  </a:extLst>
</a:theme>
</file>

<file path=ppt/theme/theme2.xml><?xml version="1.0" encoding="utf-8"?>
<a:theme xmlns:a="http://schemas.openxmlformats.org/drawingml/2006/main" name="1_2 Slides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DC63F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R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</a:spPr>
      <a:bodyPr vert="horz" lIns="36000" tIns="36000" rIns="36000" bIns="36000" rtlCol="0" anchor="ctr">
        <a:noAutofit/>
      </a:bodyPr>
      <a:lstStyle>
        <a:defPPr algn="ctr">
          <a:spcAft>
            <a:spcPts val="600"/>
          </a:spcAft>
          <a:buSzPct val="100000"/>
          <a:buFont typeface="Arial" panose="020B0604020202020204" pitchFamily="34" charset="0"/>
          <a:buNone/>
          <a:defRPr sz="1300" dirty="0" err="1" smtClean="0">
            <a:latin typeface="+mj-lt"/>
            <a:cs typeface="Calibri Light" panose="020F0302020204030204" pitchFamily="34" charset="0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RT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1 Widescreen AO RUS.potx" id="{931B6475-F357-4662-A81C-AFD0508AE5F9}" vid="{7296F3E4-AC76-401F-9B8F-AC13252EDA0A}"/>
    </a:ext>
  </a:extLst>
</a:theme>
</file>

<file path=ppt/theme/theme3.xml><?xml version="1.0" encoding="utf-8"?>
<a:theme xmlns:a="http://schemas.openxmlformats.org/drawingml/2006/main" name="2_2 Slides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DC63F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R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</a:spPr>
      <a:bodyPr vert="horz" lIns="36000" tIns="36000" rIns="36000" bIns="36000" rtlCol="0" anchor="ctr">
        <a:noAutofit/>
      </a:bodyPr>
      <a:lstStyle>
        <a:defPPr algn="ctr">
          <a:spcAft>
            <a:spcPts val="600"/>
          </a:spcAft>
          <a:buSzPct val="100000"/>
          <a:buFont typeface="Arial" panose="020B0604020202020204" pitchFamily="34" charset="0"/>
          <a:buNone/>
          <a:defRPr sz="1300" dirty="0" err="1" smtClean="0">
            <a:latin typeface="+mj-lt"/>
            <a:cs typeface="Calibri Light" panose="020F0302020204030204" pitchFamily="34" charset="0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RT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1 Widescreen AO RUS.potx" id="{931B6475-F357-4662-A81C-AFD0508AE5F9}" vid="{7296F3E4-AC76-401F-9B8F-AC13252EDA0A}"/>
    </a:ext>
  </a:extLst>
</a:theme>
</file>

<file path=ppt/theme/theme4.xml><?xml version="1.0" encoding="utf-8"?>
<a:theme xmlns:a="http://schemas.openxmlformats.org/drawingml/2006/main" name="3_2 Slides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DC63F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RT 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</a:spPr>
      <a:bodyPr vert="horz" lIns="36000" tIns="36000" rIns="36000" bIns="36000" rtlCol="0" anchor="ctr">
        <a:noAutofit/>
      </a:bodyPr>
      <a:lstStyle>
        <a:defPPr algn="ctr">
          <a:spcAft>
            <a:spcPts val="600"/>
          </a:spcAft>
          <a:buSzPct val="100000"/>
          <a:buFont typeface="Arial" panose="020B0604020202020204" pitchFamily="34" charset="0"/>
          <a:buNone/>
          <a:defRPr sz="1300" dirty="0" err="1" smtClean="0">
            <a:latin typeface="+mj-lt"/>
            <a:cs typeface="Calibri Light" panose="020F0302020204030204" pitchFamily="34" charset="0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RT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1 Widescreen AO RUS.potx" id="{931B6475-F357-4662-A81C-AFD0508AE5F9}" vid="{7296F3E4-AC76-401F-9B8F-AC13252EDA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702233","version":"1.3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6A684F50F9644ADA7186C7FA154E4" ma:contentTypeVersion="10" ma:contentTypeDescription="Create a new document." ma:contentTypeScope="" ma:versionID="cc57d18187ecb1871b96a5db83a1d82f">
  <xsd:schema xmlns:xsd="http://www.w3.org/2001/XMLSchema" xmlns:xs="http://www.w3.org/2001/XMLSchema" xmlns:p="http://schemas.microsoft.com/office/2006/metadata/properties" xmlns:ns2="adc6f7d2-2fd4-4c58-add3-50ea831b733c" xmlns:ns3="fe0e463f-46c1-4b5a-aeae-2e65b5901510" targetNamespace="http://schemas.microsoft.com/office/2006/metadata/properties" ma:root="true" ma:fieldsID="12f7fadcf5bd79961bd936c55ac87730" ns2:_="" ns3:_="">
    <xsd:import namespace="adc6f7d2-2fd4-4c58-add3-50ea831b733c"/>
    <xsd:import namespace="fe0e463f-46c1-4b5a-aeae-2e65b59015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6f7d2-2fd4-4c58-add3-50ea831b73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e463f-46c1-4b5a-aeae-2e65b59015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594873","version":"1.3"}]]></TemplafySlideTemplateConfiguration>
</file>

<file path=customXml/item1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6108579","version":"1.3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608476","version":"1.3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TemplafyTemplateConfiguration><![CDATA[{"elementsMetadata":[{"type":"shape","id":"03d7436d-13f5-4b9d-af88-ab7594b75faa","elementConfiguration":{"binding":"UserProfile.Language.Copyright","disableUpdates":false,"type":"text"}},{"type":"shape","id":"fdf92aa7-7e76-4326-bdde-440d9933da33","elementConfiguration":{"binding":"UserProfile.Language.Copyright","disableUpdates":false,"type":"text"}},{"type":"shape","id":"ec9a446c-6fc3-45fa-bee1-9da0368731ce","elementConfiguration":{"inheritDimensions":"inheritNone","width":"","height":"{{UserProfile.Logo.PpWidescreenLogoHeight}}","binding":"UserProfile.Logo.LogoNameWhite","disableUpdates":false,"type":"image"}},{"type":"shape","id":"d2bc1a25-9a04-4e10-a5d0-654dac89eadc","elementConfiguration":{"inheritDimensions":"inheritNone","width":"","height":"{{UserProfile.Logo.PpWidescreenLogoHeight}}","binding":"UserProfile.Logo.LogoName","disableUpdates":false,"type":"image"}},{"type":"shape","id":"92f2e9b8-c01e-448e-8fd1-9b9408dcc162","elementConfiguration":{"binding":"UserProfile.Language.Copyright","disableUpdates":false,"type":"text"}},{"type":"shape","id":"22044604-2104-4666-9e49-36ac09e3b57c","elementConfiguration":{"binding":"UserProfile.Language.Copyright","disableUpdates":false,"type":"text"}},{"type":"shape","id":"3449d4c6-0f05-4e88-bf4a-c061ca83f8cb","elementConfiguration":{"binding":"UserProfile.LegalEntity.AllDisclaimer","disableUpdates":false,"type":"text"}},{"type":"shape","id":"a2ee9195-d77e-42a0-8a7d-ec93cdea8979","elementConfiguration":{"inheritDimensions":"inheritNone","width":"","height":"{{UserProfile.Logo.PpWidescreenLogoHeight}}","binding":"UserProfile.Logo.LogoNameWhite","disableUpdates":false,"type":"image"}},{"type":"shape","id":"640ddeb5-8abd-4f05-8a9c-3d941297853d","elementConfiguration":{"inheritDimensions":"inheritNone","width":"","height":"{{UserProfile.Logo.PpWidescreenLogoHeight}}","binding":"UserProfile.Logo.LogoNameWhite","disableUpdates":false,"type":"image"}},{"type":"shape","id":"0d64b890-c825-4d29-8e43-189ddc3917c8","elementConfiguration":{"binding":"UserProfile.Language.PpAddress","disableUpdates":false,"type":"text"}},{"type":"shape","id":"2829dbfb-1b64-4180-80a8-eb6a3b42ccea","elementConfiguration":{"inheritDimensions":"inheritNone","width":"","height":"{{UserProfile.Logo.PpWidescreenLogoHeight}}","binding":"UserProfile.Logo.LogoName","disableUpdates":false,"type":"image"}},{"type":"shape","id":"068e1dc0-a418-44ce-b390-d31b4d55809b","elementConfiguration":{"binding":"UserProfile.Language.PpAddress","disableUpdates":false,"type":"text"}},{"type":"shape","id":"76dafefe-464f-46a1-9e06-a417babdd3df","elementConfiguration":{"inheritDimensions":"inheritNone","width":"","height":"{{UserProfile.Logo.PpWidescreenLogoHeight}}","binding":"UserProfile.Logo.LogoName","disableUpdates":false,"type":"image"}},{"type":"shape","id":"e2054a85-e8cc-43d9-8fb4-3c2ba7f6658a","elementConfiguration":{"binding":"UserProfile.Language.Copyright","disableUpdates":false,"type":"text"}},{"type":"shape","id":"2197bac3-0cf5-4170-a693-9258a2426fdd","elementConfiguration":{"binding":"UserProfile.LegalEntity.AllDisclaimer","disableUpdates":false,"type":"text"}},{"type":"shape","id":"8eeb9351-87f4-4cce-ae8f-1ba9eaa8f583","elementConfiguration":{"inheritDimensions":"inheritNone","width":"","height":"{{UserProfile.Logo.PpWidescreenLogoHeight}}","binding":"UserProfile.Logo.LogoName","disableUpdates":false,"type":"image"}},{"type":"shape","id":"d8ce1097-0b3a-4356-841a-1678ca17cbd9","elementConfiguration":{"inheritDimensions":"inheritNone","width":"","height":"{{UserProfile.Logo.PpWidescreenLogoHeight}}","binding":"UserProfile.Logo.LogoNameWhite","disableUpdates":false,"type":"image"}}],"transformationConfigurations":[],"templateName":"","templateDescription":"","enableDocumentContentUpdater":true,"version":"1.3"}]]></TemplafyTemplateConfiguration>
</file>

<file path=customXml/item2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764726","version":"1.3"}]]></TemplafySlideTemplate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546763546204951","enableDocumentContentUpdater":true,"version":"1.3"}]]></TemplafySlideTemplateConfiguration>
</file>

<file path=customXml/item22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077232","version":"1.3"}]]></TemplafySlideTemplateConfiguration>
</file>

<file path=customXml/item23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858473","version":"1.3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documentContentValidatorConfiguration":{"enableDocumentContentValidator":false,"documentContentValidatorVersion":0},"elementsMetadata":[],"slideId":"637546763577458048","enableDocumentContentUpdater":true,"version":"1.3"}]]></TemplafySlideTemplateConfiguration>
</file>

<file path=customXml/item26.xml><?xml version="1.0" encoding="utf-8"?>
<TemplafySlideTemplateConfiguration><![CDATA[{"documentContentValidatorConfiguration":{"enableDocumentContentValidator":false,"documentContentValidatorVersion":0},"elementsMetadata":[],"slideId":"637213190303177626","enableDocumentContentUpdater":true,"version":"1.3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796288","version":"1.3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389787","version":"1.3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956366","version":"1.3"}]]></TemplafySlideTemplateConfiguration>
</file>

<file path=customXml/item3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956365","version":"1.3"}]]></TemplafySlideTemplateConfiguration>
</file>

<file path=customXml/item36.xml><?xml version="1.0" encoding="utf-8"?>
<TemplafySlideTemplateConfiguration><![CDATA[{"documentContentValidatorConfiguration":{"enableDocumentContentValidator":false,"documentContentValidatorVersion":0},"elementsMetadata":[],"slideId":"637546763561518956","enableDocumentContentUpdater":true,"version":"1.3"}]]></TemplafySlideTemplate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483495","version":"1.3"}]]></TemplafySlideTemplate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TemplateConfiguration><![CDATA[{"documentContentValidatorConfiguration":{"enableDocumentContentValidator":false,"documentContentValidatorVersion":0},"elementsMetadata":[],"slideId":"637546763577458049","enableDocumentContentUpdater":true,"version":"1.3"}]]></TemplafySlideTemplateConfiguration>
</file>

<file path=customXml/item41.xml><?xml version="1.0" encoding="utf-8"?>
<TemplafySlideTemplateConfiguration><![CDATA[{"documentContentValidatorConfiguration":{"enableDocumentContentValidator":false,"documentContentValidatorVersion":0},"elementsMetadata":[],"slideId":"637546763577458048","enableDocumentContentUpdater":true,"version":"1.3"}]]></TemplafySlideTemplateConfiguration>
</file>

<file path=customXml/item42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0","version":"1.3"}]]></TemplafySlideTemplateConfiguration>
</file>

<file path=customXml/item43.xml><?xml version="1.0" encoding="utf-8"?>
<TemplafySlideFormConfiguration><![CDATA[{"formFields":[],"formDataEntries":[]}]]></TemplafySlideFormConfiguration>
</file>

<file path=customXml/item4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19","version":"1.3"}]]></TemplafySlideTemplateConfiguration>
</file>

<file path=customXml/item45.xml><?xml version="1.0" encoding="utf-8"?>
<TemplafySlideFormConfiguration><![CDATA[{"formFields":[],"formDataEntries":[]}]]></TemplafySlideFormConfiguration>
</file>

<file path=customXml/item46.xml><?xml version="1.0" encoding="utf-8"?>
<TemplafySlideTemplateConfiguration><![CDATA[{"documentContentValidatorConfiguration":{"enableDocumentContentValidator":false,"documentContentValidatorVersion":0},"elementsMetadata":[],"slideId":"637546763577458048","enableDocumentContentUpdater":true,"version":"1.3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FormConfiguration><![CDATA[{"formFields":[],"formDataEntries":[]}]]></TemplafySlideForm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1","version":"1.3"}]]></TemplafySlideTemplateConfiguration>
</file>

<file path=customXml/item51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5796289","version":"1.3"}]]></TemplafySlideTemplateConfiguration>
</file>

<file path=customXml/item52.xml><?xml version="1.0" encoding="utf-8"?>
<TemplafySlideFormConfiguration><![CDATA[{"formFields":[],"formDataEntries":[]}]]></TemplafySlideFormConfiguration>
</file>

<file path=customXml/item53.xml><?xml version="1.0" encoding="utf-8"?>
<TemplafySlideFormConfiguration><![CDATA[{"formFields":[],"formDataEntries":[]}]]></TemplafySlideForm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FormConfiguration><![CDATA[{"formFields":[],"formDataEntries":[]}]]></TemplafySlideFormConfiguration>
</file>

<file path=customXml/item56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389786","version":"1.3"}]]></TemplafySlideTemplateConfiguration>
</file>

<file path=customXml/item57.xml><?xml version="1.0" encoding="utf-8"?>
<TemplafySlideTemplateConfiguration><![CDATA[{"documentContentValidatorConfiguration":{"enableDocumentContentValidator":false,"documentContentValidatorVersion":0},"elementsMetadata":[],"slideId":"637224725418802540","enableDocumentContentUpdater":true,"version":"1.3"}]]></TemplafySlideTemplateConfiguration>
</file>

<file path=customXml/item5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858474","version":"1.3"}]]></TemplafySlideTemplateConfiguration>
</file>

<file path=customXml/item59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6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6264691","version":"1.3"}]]></TemplafySlideTemplateConfiguration>
</file>

<file path=customXml/item61.xml><?xml version="1.0" encoding="utf-8"?>
<TemplafySlideFormConfiguration><![CDATA[{"formFields":[],"formDataEntries":[]}]]></TemplafySlideFormConfiguration>
</file>

<file path=customXml/item62.xml><?xml version="1.0" encoding="utf-8"?>
<TemplafySlideTemplateConfiguration><![CDATA[{"documentContentValidatorConfiguration":{"enableDocumentContentValidator":false,"documentContentValidatorVersion":0},"elementsMetadata":[],"slideId":"637213190305052644","enableDocumentContentUpdater":true,"version":"1.3"}]]></TemplafySlideTemplateConfiguration>
</file>

<file path=customXml/item63.xml><?xml version="1.0" encoding="utf-8"?>
<TemplafySlideFormConfiguration><![CDATA[{"formFields":[],"formDataEntries":[]}]]></TemplafySlideFormConfiguration>
</file>

<file path=customXml/item64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077234","version":"1.3"}]]></TemplafySlideTemplateConfiguration>
</file>

<file path=customXml/item65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246222","version":"1.3"}]]></TemplafySlideTemplateConfiguration>
</file>

<file path=customXml/item66.xml><?xml version="1.0" encoding="utf-8"?>
<TemplafySlideFormConfiguration><![CDATA[{"formFields":[],"formDataEntries":[]}]]></TemplafySlideFormConfiguration>
</file>

<file path=customXml/item67.xml><?xml version="1.0" encoding="utf-8"?>
<TemplafySlideFormConfiguration><![CDATA[{"formFields":[],"formDataEntries":[]}]]></TemplafySlideFormConfiguration>
</file>

<file path=customXml/item68.xml><?xml version="1.0" encoding="utf-8"?>
<TemplafySlideFormConfiguration><![CDATA[{"formFields":[],"formDataEntries":[]}]]></TemplafySlideFormConfiguration>
</file>

<file path=customXml/item69.xml><?xml version="1.0" encoding="utf-8"?>
<TemplafySlideTemplateConfiguration><![CDATA[{"documentContentValidatorConfiguration":{"enableDocumentContentValidator":false,"documentContentValidatorVersion":0},"elementsMetadata":[],"slideId":"637546763579333222","enableDocumentContentUpdater":true,"version":"1.3"}]]></TemplafySlideTemplateConfiguration>
</file>

<file path=customXml/item7.xml><?xml version="1.0" encoding="utf-8"?>
<TemplafySlideFormConfiguration><![CDATA[{"formFields":[],"formDataEntries":[]}]]></TemplafySlideFormConfiguration>
</file>

<file path=customXml/item70.xml><?xml version="1.0" encoding="utf-8"?>
<TemplafySlideFormConfiguration><![CDATA[{"formFields":[],"formDataEntries":[]}]]></TemplafySlideFormConfiguration>
</file>

<file path=customXml/item71.xml><?xml version="1.0" encoding="utf-8"?>
<TemplafySlideFormConfiguration><![CDATA[{"formFields":[],"formDataEntries":[]}]]></TemplafySlideFormConfiguration>
</file>

<file path=customXml/item72.xml><?xml version="1.0" encoding="utf-8"?>
<TemplafySlideFormConfiguration><![CDATA[{"formFields":[],"formDataEntries":[]}]]></TemplafySlideFormConfiguration>
</file>

<file path=customXml/item73.xml><?xml version="1.0" encoding="utf-8"?>
<TemplafySlideTemplateConfiguration><![CDATA[{"documentContentValidatorConfiguration":{"enableDocumentContentValidator":false,"documentContentValidatorVersion":0},"elementsMetadata":[],"slideId":"637224725418802540","enableDocumentContentUpdater":true,"version":"1.3"}]]></TemplafySlideTemplateConfiguration>
</file>

<file path=customXml/item74.xml><?xml version="1.0" encoding="utf-8"?>
<TemplafySlideFormConfiguration><![CDATA[{"formFields":[],"formDataEntries":[]}]]></TemplafySlideFormConfiguration>
</file>

<file path=customXml/item75.xml><?xml version="1.0" encoding="utf-8"?>
<TemplafySlideFormConfiguration><![CDATA[{"formFields":[],"formDataEntries":[]}]]></TemplafySlideFormConfiguration>
</file>

<file path=customXml/item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8296340","version":"1.3"}]]></TemplafySlideTemplateConfiguration>
</file>

<file path=customXml/item78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4594872","version":"1.3"}]]></TemplafySlideTemplateConfiguration>
</file>

<file path=customXml/item79.xml><?xml version="1.0" encoding="utf-8"?>
<TemplafySlideTemplateConfiguration><![CDATA[{"documentContentValidatorConfiguration":{"enableDocumentContentValidator":false,"documentContentValidatorVersion":0},"elementsMetadata":[],"slideId":"637546763547923876","enableDocumentContentUpdater":true,"version":"1.3"}]]></TemplafySlideTemplateConfiguration>
</file>

<file path=customXml/item8.xml><?xml version="1.0" encoding="utf-8"?>
<TemplafyFormConfiguration><![CDATA[{"formFields":[],"formDataEntries":[]}]]></TemplafyFormConfiguration>
</file>

<file path=customXml/item80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139726","version":"1.3"}]]></TemplafySlideTemplateConfiguration>
</file>

<file path=customXml/item81.xml><?xml version="1.0" encoding="utf-8"?>
<TemplafySlideTemplateConfiguration><![CDATA[{"documentContentValidatorConfiguration":{"enableDocumentContentValidator":false,"documentContentValidatorVersion":0},"elementsMetadata":[],"slideId":"637546763577458048","enableDocumentContentUpdater":true,"version":"1.3"}]]></TemplafySlideTemplateConfiguration>
</file>

<file path=customXml/item9.xml><?xml version="1.0" encoding="utf-8"?>
<TemplafySlideTemplateConfiguration><![CDATA[{"elementsMetadata":[],"enableDocumentContentUpdater":true,"documentContentValidatorConfiguration":{"enableDocumentContentValidator":false,"documentContentValidatorVersion":0},"slideId":"636834118903452296","version":"1.3"}]]></TemplafySlideTemplateConfiguration>
</file>

<file path=customXml/itemProps1.xml><?xml version="1.0" encoding="utf-8"?>
<ds:datastoreItem xmlns:ds="http://schemas.openxmlformats.org/officeDocument/2006/customXml" ds:itemID="{80C62D7F-212D-486B-9EC4-B729AD6604E9}">
  <ds:schemaRefs/>
</ds:datastoreItem>
</file>

<file path=customXml/itemProps10.xml><?xml version="1.0" encoding="utf-8"?>
<ds:datastoreItem xmlns:ds="http://schemas.openxmlformats.org/officeDocument/2006/customXml" ds:itemID="{A307F89C-A32A-4592-9D6D-CD12134553F3}">
  <ds:schemaRefs/>
</ds:datastoreItem>
</file>

<file path=customXml/itemProps11.xml><?xml version="1.0" encoding="utf-8"?>
<ds:datastoreItem xmlns:ds="http://schemas.openxmlformats.org/officeDocument/2006/customXml" ds:itemID="{265BBBDD-1FC7-4F66-ADB0-EB2BF655CBD6}">
  <ds:schemaRefs/>
</ds:datastoreItem>
</file>

<file path=customXml/itemProps12.xml><?xml version="1.0" encoding="utf-8"?>
<ds:datastoreItem xmlns:ds="http://schemas.openxmlformats.org/officeDocument/2006/customXml" ds:itemID="{B42EEE81-DC7D-47E4-A071-EFE7178E85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c6f7d2-2fd4-4c58-add3-50ea831b733c"/>
    <ds:schemaRef ds:uri="fe0e463f-46c1-4b5a-aeae-2e65b59015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3.xml><?xml version="1.0" encoding="utf-8"?>
<ds:datastoreItem xmlns:ds="http://schemas.openxmlformats.org/officeDocument/2006/customXml" ds:itemID="{8ED585A8-1409-4418-B351-26A0342B777A}">
  <ds:schemaRefs/>
</ds:datastoreItem>
</file>

<file path=customXml/itemProps14.xml><?xml version="1.0" encoding="utf-8"?>
<ds:datastoreItem xmlns:ds="http://schemas.openxmlformats.org/officeDocument/2006/customXml" ds:itemID="{2E30EFBC-3B21-4142-B143-EFE2551846A8}">
  <ds:schemaRefs/>
</ds:datastoreItem>
</file>

<file path=customXml/itemProps15.xml><?xml version="1.0" encoding="utf-8"?>
<ds:datastoreItem xmlns:ds="http://schemas.openxmlformats.org/officeDocument/2006/customXml" ds:itemID="{D01F759E-23CA-45A9-884A-F73A55E3E6D3}">
  <ds:schemaRefs/>
</ds:datastoreItem>
</file>

<file path=customXml/itemProps16.xml><?xml version="1.0" encoding="utf-8"?>
<ds:datastoreItem xmlns:ds="http://schemas.openxmlformats.org/officeDocument/2006/customXml" ds:itemID="{2F090117-6679-4CCB-BBEB-9B4BDB208AE9}">
  <ds:schemaRefs/>
</ds:datastoreItem>
</file>

<file path=customXml/itemProps17.xml><?xml version="1.0" encoding="utf-8"?>
<ds:datastoreItem xmlns:ds="http://schemas.openxmlformats.org/officeDocument/2006/customXml" ds:itemID="{EA6BCEEC-A6B4-435E-9BB8-CF62A7A06291}">
  <ds:schemaRefs/>
</ds:datastoreItem>
</file>

<file path=customXml/itemProps18.xml><?xml version="1.0" encoding="utf-8"?>
<ds:datastoreItem xmlns:ds="http://schemas.openxmlformats.org/officeDocument/2006/customXml" ds:itemID="{FC8CE25F-B98D-4501-A47D-6A31B1370EEB}">
  <ds:schemaRefs/>
</ds:datastoreItem>
</file>

<file path=customXml/itemProps19.xml><?xml version="1.0" encoding="utf-8"?>
<ds:datastoreItem xmlns:ds="http://schemas.openxmlformats.org/officeDocument/2006/customXml" ds:itemID="{15067060-200B-4FB1-8B95-7DB5DF40D42A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fe0e463f-46c1-4b5a-aeae-2e65b5901510"/>
    <ds:schemaRef ds:uri="http://purl.org/dc/terms/"/>
    <ds:schemaRef ds:uri="adc6f7d2-2fd4-4c58-add3-50ea831b733c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72F42A8-124A-49CD-B7FA-7D376AD80225}">
  <ds:schemaRefs/>
</ds:datastoreItem>
</file>

<file path=customXml/itemProps20.xml><?xml version="1.0" encoding="utf-8"?>
<ds:datastoreItem xmlns:ds="http://schemas.openxmlformats.org/officeDocument/2006/customXml" ds:itemID="{6B8F2F9B-46F4-4824-BCD6-68F3975DE37F}">
  <ds:schemaRefs/>
</ds:datastoreItem>
</file>

<file path=customXml/itemProps21.xml><?xml version="1.0" encoding="utf-8"?>
<ds:datastoreItem xmlns:ds="http://schemas.openxmlformats.org/officeDocument/2006/customXml" ds:itemID="{DE1EA5E3-463E-42E0-83A3-FFEEC8FAA0F5}">
  <ds:schemaRefs/>
</ds:datastoreItem>
</file>

<file path=customXml/itemProps22.xml><?xml version="1.0" encoding="utf-8"?>
<ds:datastoreItem xmlns:ds="http://schemas.openxmlformats.org/officeDocument/2006/customXml" ds:itemID="{33EFC02E-8E99-42C9-B665-C2CE7170ECB9}">
  <ds:schemaRefs/>
</ds:datastoreItem>
</file>

<file path=customXml/itemProps23.xml><?xml version="1.0" encoding="utf-8"?>
<ds:datastoreItem xmlns:ds="http://schemas.openxmlformats.org/officeDocument/2006/customXml" ds:itemID="{E4940ACA-5C80-434B-854A-2FDF007A6FB2}">
  <ds:schemaRefs/>
</ds:datastoreItem>
</file>

<file path=customXml/itemProps24.xml><?xml version="1.0" encoding="utf-8"?>
<ds:datastoreItem xmlns:ds="http://schemas.openxmlformats.org/officeDocument/2006/customXml" ds:itemID="{CB028629-4F71-4539-8C9D-9B6F175B061C}">
  <ds:schemaRefs/>
</ds:datastoreItem>
</file>

<file path=customXml/itemProps25.xml><?xml version="1.0" encoding="utf-8"?>
<ds:datastoreItem xmlns:ds="http://schemas.openxmlformats.org/officeDocument/2006/customXml" ds:itemID="{3147CEC9-0135-4D5B-B731-49AF021EF98E}">
  <ds:schemaRefs/>
</ds:datastoreItem>
</file>

<file path=customXml/itemProps26.xml><?xml version="1.0" encoding="utf-8"?>
<ds:datastoreItem xmlns:ds="http://schemas.openxmlformats.org/officeDocument/2006/customXml" ds:itemID="{60E1B4BA-2F45-40E6-A063-44A3A46AEC68}">
  <ds:schemaRefs/>
</ds:datastoreItem>
</file>

<file path=customXml/itemProps27.xml><?xml version="1.0" encoding="utf-8"?>
<ds:datastoreItem xmlns:ds="http://schemas.openxmlformats.org/officeDocument/2006/customXml" ds:itemID="{376DD206-8725-4962-8EC6-0912A1D26D23}">
  <ds:schemaRefs/>
</ds:datastoreItem>
</file>

<file path=customXml/itemProps28.xml><?xml version="1.0" encoding="utf-8"?>
<ds:datastoreItem xmlns:ds="http://schemas.openxmlformats.org/officeDocument/2006/customXml" ds:itemID="{D1DFF14D-528A-4BB8-BBC9-701553CD493F}">
  <ds:schemaRefs/>
</ds:datastoreItem>
</file>

<file path=customXml/itemProps29.xml><?xml version="1.0" encoding="utf-8"?>
<ds:datastoreItem xmlns:ds="http://schemas.openxmlformats.org/officeDocument/2006/customXml" ds:itemID="{50EAA160-E7EC-4537-AE09-7FD0B220081E}">
  <ds:schemaRefs/>
</ds:datastoreItem>
</file>

<file path=customXml/itemProps3.xml><?xml version="1.0" encoding="utf-8"?>
<ds:datastoreItem xmlns:ds="http://schemas.openxmlformats.org/officeDocument/2006/customXml" ds:itemID="{846A9A60-426E-4D21-B01A-C3BD67EB5D5D}">
  <ds:schemaRefs/>
</ds:datastoreItem>
</file>

<file path=customXml/itemProps30.xml><?xml version="1.0" encoding="utf-8"?>
<ds:datastoreItem xmlns:ds="http://schemas.openxmlformats.org/officeDocument/2006/customXml" ds:itemID="{9E861D20-F455-4C9C-9F34-244E802D5CAE}">
  <ds:schemaRefs/>
</ds:datastoreItem>
</file>

<file path=customXml/itemProps31.xml><?xml version="1.0" encoding="utf-8"?>
<ds:datastoreItem xmlns:ds="http://schemas.openxmlformats.org/officeDocument/2006/customXml" ds:itemID="{695D4E9D-308F-47CE-AAAB-270F3F50339A}">
  <ds:schemaRefs/>
</ds:datastoreItem>
</file>

<file path=customXml/itemProps32.xml><?xml version="1.0" encoding="utf-8"?>
<ds:datastoreItem xmlns:ds="http://schemas.openxmlformats.org/officeDocument/2006/customXml" ds:itemID="{C559AAB6-CA05-4F3A-8859-38458796A9F2}">
  <ds:schemaRefs/>
</ds:datastoreItem>
</file>

<file path=customXml/itemProps33.xml><?xml version="1.0" encoding="utf-8"?>
<ds:datastoreItem xmlns:ds="http://schemas.openxmlformats.org/officeDocument/2006/customXml" ds:itemID="{8543A049-5141-4F9F-A828-23AF6AA77E38}">
  <ds:schemaRefs/>
</ds:datastoreItem>
</file>

<file path=customXml/itemProps34.xml><?xml version="1.0" encoding="utf-8"?>
<ds:datastoreItem xmlns:ds="http://schemas.openxmlformats.org/officeDocument/2006/customXml" ds:itemID="{BAFFFCC2-4CE9-4FDB-A997-3DF69C06DBAF}">
  <ds:schemaRefs/>
</ds:datastoreItem>
</file>

<file path=customXml/itemProps35.xml><?xml version="1.0" encoding="utf-8"?>
<ds:datastoreItem xmlns:ds="http://schemas.openxmlformats.org/officeDocument/2006/customXml" ds:itemID="{2CF996EB-08BB-4876-8AB0-AACBADD6F26C}">
  <ds:schemaRefs/>
</ds:datastoreItem>
</file>

<file path=customXml/itemProps36.xml><?xml version="1.0" encoding="utf-8"?>
<ds:datastoreItem xmlns:ds="http://schemas.openxmlformats.org/officeDocument/2006/customXml" ds:itemID="{D2D1328C-1FA4-43C4-AD1C-71E318CD2BC3}">
  <ds:schemaRefs/>
</ds:datastoreItem>
</file>

<file path=customXml/itemProps37.xml><?xml version="1.0" encoding="utf-8"?>
<ds:datastoreItem xmlns:ds="http://schemas.openxmlformats.org/officeDocument/2006/customXml" ds:itemID="{DEEABE9F-2877-46BA-94E7-063282D59900}">
  <ds:schemaRefs/>
</ds:datastoreItem>
</file>

<file path=customXml/itemProps38.xml><?xml version="1.0" encoding="utf-8"?>
<ds:datastoreItem xmlns:ds="http://schemas.openxmlformats.org/officeDocument/2006/customXml" ds:itemID="{7E5BC36F-9539-4084-A331-E0CBDBB242A9}">
  <ds:schemaRefs/>
</ds:datastoreItem>
</file>

<file path=customXml/itemProps39.xml><?xml version="1.0" encoding="utf-8"?>
<ds:datastoreItem xmlns:ds="http://schemas.openxmlformats.org/officeDocument/2006/customXml" ds:itemID="{A08E8319-87A9-4823-A581-9FCB4BAB3AB8}">
  <ds:schemaRefs/>
</ds:datastoreItem>
</file>

<file path=customXml/itemProps4.xml><?xml version="1.0" encoding="utf-8"?>
<ds:datastoreItem xmlns:ds="http://schemas.openxmlformats.org/officeDocument/2006/customXml" ds:itemID="{1137EE4D-2D9D-4B1C-AC73-C89E7B8FC019}">
  <ds:schemaRefs/>
</ds:datastoreItem>
</file>

<file path=customXml/itemProps40.xml><?xml version="1.0" encoding="utf-8"?>
<ds:datastoreItem xmlns:ds="http://schemas.openxmlformats.org/officeDocument/2006/customXml" ds:itemID="{BF80E857-84B7-4672-9FB3-17BC1DE40B7D}">
  <ds:schemaRefs/>
</ds:datastoreItem>
</file>

<file path=customXml/itemProps41.xml><?xml version="1.0" encoding="utf-8"?>
<ds:datastoreItem xmlns:ds="http://schemas.openxmlformats.org/officeDocument/2006/customXml" ds:itemID="{8DB68AEA-3ACA-4F0C-B66E-CEA1703C7658}">
  <ds:schemaRefs/>
</ds:datastoreItem>
</file>

<file path=customXml/itemProps42.xml><?xml version="1.0" encoding="utf-8"?>
<ds:datastoreItem xmlns:ds="http://schemas.openxmlformats.org/officeDocument/2006/customXml" ds:itemID="{AECF2187-37CC-4F1A-82BE-55106466602F}">
  <ds:schemaRefs/>
</ds:datastoreItem>
</file>

<file path=customXml/itemProps43.xml><?xml version="1.0" encoding="utf-8"?>
<ds:datastoreItem xmlns:ds="http://schemas.openxmlformats.org/officeDocument/2006/customXml" ds:itemID="{D5A7AE9A-4581-4BFF-9062-52F9285083B7}">
  <ds:schemaRefs/>
</ds:datastoreItem>
</file>

<file path=customXml/itemProps44.xml><?xml version="1.0" encoding="utf-8"?>
<ds:datastoreItem xmlns:ds="http://schemas.openxmlformats.org/officeDocument/2006/customXml" ds:itemID="{0901840E-4CA7-47A3-AD1C-FDD0F3116462}">
  <ds:schemaRefs/>
</ds:datastoreItem>
</file>

<file path=customXml/itemProps45.xml><?xml version="1.0" encoding="utf-8"?>
<ds:datastoreItem xmlns:ds="http://schemas.openxmlformats.org/officeDocument/2006/customXml" ds:itemID="{AF024D13-3BD5-4FFB-B0E0-E57F8D0F8470}">
  <ds:schemaRefs/>
</ds:datastoreItem>
</file>

<file path=customXml/itemProps46.xml><?xml version="1.0" encoding="utf-8"?>
<ds:datastoreItem xmlns:ds="http://schemas.openxmlformats.org/officeDocument/2006/customXml" ds:itemID="{A068627D-59E8-44C4-839F-7183C43581C5}">
  <ds:schemaRefs/>
</ds:datastoreItem>
</file>

<file path=customXml/itemProps47.xml><?xml version="1.0" encoding="utf-8"?>
<ds:datastoreItem xmlns:ds="http://schemas.openxmlformats.org/officeDocument/2006/customXml" ds:itemID="{2829CA6E-6116-4F43-B908-F66CCB94D0D6}">
  <ds:schemaRefs/>
</ds:datastoreItem>
</file>

<file path=customXml/itemProps48.xml><?xml version="1.0" encoding="utf-8"?>
<ds:datastoreItem xmlns:ds="http://schemas.openxmlformats.org/officeDocument/2006/customXml" ds:itemID="{CA2971BC-F666-479B-AEAA-931DE1B4EC71}">
  <ds:schemaRefs/>
</ds:datastoreItem>
</file>

<file path=customXml/itemProps49.xml><?xml version="1.0" encoding="utf-8"?>
<ds:datastoreItem xmlns:ds="http://schemas.openxmlformats.org/officeDocument/2006/customXml" ds:itemID="{5879892D-8690-4DFE-AE37-784F78344220}">
  <ds:schemaRefs/>
</ds:datastoreItem>
</file>

<file path=customXml/itemProps5.xml><?xml version="1.0" encoding="utf-8"?>
<ds:datastoreItem xmlns:ds="http://schemas.openxmlformats.org/officeDocument/2006/customXml" ds:itemID="{A530D1DE-17EE-41A7-80EA-42D7DA6E4E70}">
  <ds:schemaRefs/>
</ds:datastoreItem>
</file>

<file path=customXml/itemProps50.xml><?xml version="1.0" encoding="utf-8"?>
<ds:datastoreItem xmlns:ds="http://schemas.openxmlformats.org/officeDocument/2006/customXml" ds:itemID="{126B0DE2-AA5C-46BB-A55C-10A44E8D89C0}">
  <ds:schemaRefs/>
</ds:datastoreItem>
</file>

<file path=customXml/itemProps51.xml><?xml version="1.0" encoding="utf-8"?>
<ds:datastoreItem xmlns:ds="http://schemas.openxmlformats.org/officeDocument/2006/customXml" ds:itemID="{92971D2B-F260-4094-8768-18FC446B708F}">
  <ds:schemaRefs/>
</ds:datastoreItem>
</file>

<file path=customXml/itemProps52.xml><?xml version="1.0" encoding="utf-8"?>
<ds:datastoreItem xmlns:ds="http://schemas.openxmlformats.org/officeDocument/2006/customXml" ds:itemID="{FC3E01E3-9D7B-4F3B-8847-66F416570895}">
  <ds:schemaRefs/>
</ds:datastoreItem>
</file>

<file path=customXml/itemProps53.xml><?xml version="1.0" encoding="utf-8"?>
<ds:datastoreItem xmlns:ds="http://schemas.openxmlformats.org/officeDocument/2006/customXml" ds:itemID="{406E13F6-1983-4E35-911A-FB051C725FDF}">
  <ds:schemaRefs/>
</ds:datastoreItem>
</file>

<file path=customXml/itemProps54.xml><?xml version="1.0" encoding="utf-8"?>
<ds:datastoreItem xmlns:ds="http://schemas.openxmlformats.org/officeDocument/2006/customXml" ds:itemID="{BC3097F1-B977-41DE-9572-6DA3694173E0}">
  <ds:schemaRefs/>
</ds:datastoreItem>
</file>

<file path=customXml/itemProps55.xml><?xml version="1.0" encoding="utf-8"?>
<ds:datastoreItem xmlns:ds="http://schemas.openxmlformats.org/officeDocument/2006/customXml" ds:itemID="{7AD88C2D-0251-4B39-8E51-EF701DE840E2}">
  <ds:schemaRefs/>
</ds:datastoreItem>
</file>

<file path=customXml/itemProps56.xml><?xml version="1.0" encoding="utf-8"?>
<ds:datastoreItem xmlns:ds="http://schemas.openxmlformats.org/officeDocument/2006/customXml" ds:itemID="{0DEEB359-F651-4309-8ABB-52DE61D32769}">
  <ds:schemaRefs/>
</ds:datastoreItem>
</file>

<file path=customXml/itemProps57.xml><?xml version="1.0" encoding="utf-8"?>
<ds:datastoreItem xmlns:ds="http://schemas.openxmlformats.org/officeDocument/2006/customXml" ds:itemID="{E43E653C-CC54-4B8F-8452-330EBE33EDEE}">
  <ds:schemaRefs/>
</ds:datastoreItem>
</file>

<file path=customXml/itemProps58.xml><?xml version="1.0" encoding="utf-8"?>
<ds:datastoreItem xmlns:ds="http://schemas.openxmlformats.org/officeDocument/2006/customXml" ds:itemID="{3B027550-B45B-4858-A368-E75DF80A285C}">
  <ds:schemaRefs/>
</ds:datastoreItem>
</file>

<file path=customXml/itemProps59.xml><?xml version="1.0" encoding="utf-8"?>
<ds:datastoreItem xmlns:ds="http://schemas.openxmlformats.org/officeDocument/2006/customXml" ds:itemID="{D79C4484-D4A3-424B-B36C-92AB6BBCB700}">
  <ds:schemaRefs/>
</ds:datastoreItem>
</file>

<file path=customXml/itemProps6.xml><?xml version="1.0" encoding="utf-8"?>
<ds:datastoreItem xmlns:ds="http://schemas.openxmlformats.org/officeDocument/2006/customXml" ds:itemID="{A6C9A90D-79E9-49B9-9931-4AD583FEF288}">
  <ds:schemaRefs/>
</ds:datastoreItem>
</file>

<file path=customXml/itemProps60.xml><?xml version="1.0" encoding="utf-8"?>
<ds:datastoreItem xmlns:ds="http://schemas.openxmlformats.org/officeDocument/2006/customXml" ds:itemID="{507A3E2B-3E02-4D6D-B659-A00564E7393B}">
  <ds:schemaRefs/>
</ds:datastoreItem>
</file>

<file path=customXml/itemProps61.xml><?xml version="1.0" encoding="utf-8"?>
<ds:datastoreItem xmlns:ds="http://schemas.openxmlformats.org/officeDocument/2006/customXml" ds:itemID="{59AC6DBE-4525-4A7A-8980-5CD11E7E4090}">
  <ds:schemaRefs/>
</ds:datastoreItem>
</file>

<file path=customXml/itemProps62.xml><?xml version="1.0" encoding="utf-8"?>
<ds:datastoreItem xmlns:ds="http://schemas.openxmlformats.org/officeDocument/2006/customXml" ds:itemID="{EDE80B62-99E8-4F25-8939-307C09CCDFBD}">
  <ds:schemaRefs/>
</ds:datastoreItem>
</file>

<file path=customXml/itemProps63.xml><?xml version="1.0" encoding="utf-8"?>
<ds:datastoreItem xmlns:ds="http://schemas.openxmlformats.org/officeDocument/2006/customXml" ds:itemID="{120861A1-CA22-4679-9DB6-E61D7F807897}">
  <ds:schemaRefs/>
</ds:datastoreItem>
</file>

<file path=customXml/itemProps64.xml><?xml version="1.0" encoding="utf-8"?>
<ds:datastoreItem xmlns:ds="http://schemas.openxmlformats.org/officeDocument/2006/customXml" ds:itemID="{4175E600-2802-49A7-B7AA-09BA669E8C60}">
  <ds:schemaRefs/>
</ds:datastoreItem>
</file>

<file path=customXml/itemProps65.xml><?xml version="1.0" encoding="utf-8"?>
<ds:datastoreItem xmlns:ds="http://schemas.openxmlformats.org/officeDocument/2006/customXml" ds:itemID="{8F85000B-D678-478D-A5F9-517C204B0FA8}">
  <ds:schemaRefs/>
</ds:datastoreItem>
</file>

<file path=customXml/itemProps66.xml><?xml version="1.0" encoding="utf-8"?>
<ds:datastoreItem xmlns:ds="http://schemas.openxmlformats.org/officeDocument/2006/customXml" ds:itemID="{49AF8713-EAF3-4D11-B582-CD6F3AD73C2C}">
  <ds:schemaRefs/>
</ds:datastoreItem>
</file>

<file path=customXml/itemProps67.xml><?xml version="1.0" encoding="utf-8"?>
<ds:datastoreItem xmlns:ds="http://schemas.openxmlformats.org/officeDocument/2006/customXml" ds:itemID="{ED9540CC-A43B-4C73-AD29-0CD6B25D0ACB}">
  <ds:schemaRefs/>
</ds:datastoreItem>
</file>

<file path=customXml/itemProps68.xml><?xml version="1.0" encoding="utf-8"?>
<ds:datastoreItem xmlns:ds="http://schemas.openxmlformats.org/officeDocument/2006/customXml" ds:itemID="{2F0BA888-8076-4689-B39B-52B161B824C6}">
  <ds:schemaRefs/>
</ds:datastoreItem>
</file>

<file path=customXml/itemProps69.xml><?xml version="1.0" encoding="utf-8"?>
<ds:datastoreItem xmlns:ds="http://schemas.openxmlformats.org/officeDocument/2006/customXml" ds:itemID="{1120C4AD-DD77-44EE-892E-02B4F9B1B64E}">
  <ds:schemaRefs/>
</ds:datastoreItem>
</file>

<file path=customXml/itemProps7.xml><?xml version="1.0" encoding="utf-8"?>
<ds:datastoreItem xmlns:ds="http://schemas.openxmlformats.org/officeDocument/2006/customXml" ds:itemID="{4FD7AB43-4561-4079-8079-FB7018E7CFF7}">
  <ds:schemaRefs/>
</ds:datastoreItem>
</file>

<file path=customXml/itemProps70.xml><?xml version="1.0" encoding="utf-8"?>
<ds:datastoreItem xmlns:ds="http://schemas.openxmlformats.org/officeDocument/2006/customXml" ds:itemID="{5F77C8DC-9F2A-4B3B-8E5D-DF86693BFF56}">
  <ds:schemaRefs/>
</ds:datastoreItem>
</file>

<file path=customXml/itemProps71.xml><?xml version="1.0" encoding="utf-8"?>
<ds:datastoreItem xmlns:ds="http://schemas.openxmlformats.org/officeDocument/2006/customXml" ds:itemID="{47EDD75F-12FF-4D04-B989-4C8B3ED9F123}">
  <ds:schemaRefs/>
</ds:datastoreItem>
</file>

<file path=customXml/itemProps72.xml><?xml version="1.0" encoding="utf-8"?>
<ds:datastoreItem xmlns:ds="http://schemas.openxmlformats.org/officeDocument/2006/customXml" ds:itemID="{66F6FA00-D2F7-4EE9-B075-F314FAB1F807}">
  <ds:schemaRefs/>
</ds:datastoreItem>
</file>

<file path=customXml/itemProps73.xml><?xml version="1.0" encoding="utf-8"?>
<ds:datastoreItem xmlns:ds="http://schemas.openxmlformats.org/officeDocument/2006/customXml" ds:itemID="{A30EA165-F2DF-4FEA-960C-2DBCB8720C33}">
  <ds:schemaRefs/>
</ds:datastoreItem>
</file>

<file path=customXml/itemProps74.xml><?xml version="1.0" encoding="utf-8"?>
<ds:datastoreItem xmlns:ds="http://schemas.openxmlformats.org/officeDocument/2006/customXml" ds:itemID="{4D3DB66A-63AF-4672-976C-D19ACE93DCBD}">
  <ds:schemaRefs/>
</ds:datastoreItem>
</file>

<file path=customXml/itemProps75.xml><?xml version="1.0" encoding="utf-8"?>
<ds:datastoreItem xmlns:ds="http://schemas.openxmlformats.org/officeDocument/2006/customXml" ds:itemID="{CD638F4C-8239-4E85-9402-0DA8B8B76AFF}">
  <ds:schemaRefs/>
</ds:datastoreItem>
</file>

<file path=customXml/itemProps76.xml><?xml version="1.0" encoding="utf-8"?>
<ds:datastoreItem xmlns:ds="http://schemas.openxmlformats.org/officeDocument/2006/customXml" ds:itemID="{3459AD7D-FDCC-4CEC-A933-B94AB5861FEB}">
  <ds:schemaRefs>
    <ds:schemaRef ds:uri="http://schemas.microsoft.com/sharepoint/v3/contenttype/forms"/>
  </ds:schemaRefs>
</ds:datastoreItem>
</file>

<file path=customXml/itemProps77.xml><?xml version="1.0" encoding="utf-8"?>
<ds:datastoreItem xmlns:ds="http://schemas.openxmlformats.org/officeDocument/2006/customXml" ds:itemID="{B3952FF8-844E-48FD-878B-6C46C4E58F51}">
  <ds:schemaRefs/>
</ds:datastoreItem>
</file>

<file path=customXml/itemProps78.xml><?xml version="1.0" encoding="utf-8"?>
<ds:datastoreItem xmlns:ds="http://schemas.openxmlformats.org/officeDocument/2006/customXml" ds:itemID="{38E82106-8794-48C0-B2CB-D453CBD651BA}">
  <ds:schemaRefs/>
</ds:datastoreItem>
</file>

<file path=customXml/itemProps79.xml><?xml version="1.0" encoding="utf-8"?>
<ds:datastoreItem xmlns:ds="http://schemas.openxmlformats.org/officeDocument/2006/customXml" ds:itemID="{4AA15AF8-1D7D-4C96-A28D-76069C39A984}">
  <ds:schemaRefs/>
</ds:datastoreItem>
</file>

<file path=customXml/itemProps8.xml><?xml version="1.0" encoding="utf-8"?>
<ds:datastoreItem xmlns:ds="http://schemas.openxmlformats.org/officeDocument/2006/customXml" ds:itemID="{AF73BC6E-4D49-46EA-B936-C99FFCD2FCAD}">
  <ds:schemaRefs/>
</ds:datastoreItem>
</file>

<file path=customXml/itemProps80.xml><?xml version="1.0" encoding="utf-8"?>
<ds:datastoreItem xmlns:ds="http://schemas.openxmlformats.org/officeDocument/2006/customXml" ds:itemID="{7574941E-DDF8-4614-B152-2670CB143A54}">
  <ds:schemaRefs/>
</ds:datastoreItem>
</file>

<file path=customXml/itemProps81.xml><?xml version="1.0" encoding="utf-8"?>
<ds:datastoreItem xmlns:ds="http://schemas.openxmlformats.org/officeDocument/2006/customXml" ds:itemID="{00C0D2A2-741C-4F6B-ABD7-9A4FF83C89CA}">
  <ds:schemaRefs/>
</ds:datastoreItem>
</file>

<file path=customXml/itemProps9.xml><?xml version="1.0" encoding="utf-8"?>
<ds:datastoreItem xmlns:ds="http://schemas.openxmlformats.org/officeDocument/2006/customXml" ds:itemID="{7BD33748-65DE-41DB-97B1-4BFCC3472B8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 Widescreen AO RUS</Template>
  <TotalTime>174</TotalTime>
  <Words>404</Words>
  <Application>Microsoft Office PowerPoint</Application>
  <PresentationFormat>Произвольный</PresentationFormat>
  <Paragraphs>46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2 Slides</vt:lpstr>
      <vt:lpstr>1_2 Slides</vt:lpstr>
      <vt:lpstr>2_2 Slides</vt:lpstr>
      <vt:lpstr>3_2 Slides</vt:lpstr>
      <vt:lpstr>think-cell Slide</vt:lpstr>
      <vt:lpstr>Знакомство  с компанией</vt:lpstr>
      <vt:lpstr>Немного о ДРТ</vt:lpstr>
      <vt:lpstr>Немного о ДРТ</vt:lpstr>
      <vt:lpstr>О компании ДРТ</vt:lpstr>
      <vt:lpstr>О компании ДРТ</vt:lpstr>
      <vt:lpstr>Наши контакты</vt:lpstr>
      <vt:lpstr>Наши контакты</vt:lpstr>
      <vt:lpstr>Вакансии и стажировки</vt:lpstr>
      <vt:lpstr>Презентация PowerPoint</vt:lpstr>
    </vt:vector>
  </TitlesOfParts>
  <Company>Business Solutions and Technolog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mitrieva, Natalia</dc:creator>
  <cp:lastModifiedBy>Мисютина Ольга Владимировна</cp:lastModifiedBy>
  <cp:revision>35</cp:revision>
  <cp:lastPrinted>2014-06-25T02:16:22Z</cp:lastPrinted>
  <dcterms:created xsi:type="dcterms:W3CDTF">2023-03-27T11:00:56Z</dcterms:created>
  <dcterms:modified xsi:type="dcterms:W3CDTF">2024-04-10T02:2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16A684F50F9644ADA7186C7FA154E4</vt:lpwstr>
  </property>
  <property fmtid="{D5CDD505-2E9C-101B-9397-08002B2CF9AE}" pid="3" name="Hidden by">
    <vt:lpwstr>apiklyaev</vt:lpwstr>
  </property>
  <property fmtid="{D5CDD505-2E9C-101B-9397-08002B2CF9AE}" pid="4" name="Hide date">
    <vt:lpwstr>1/31/2019 4:31:53 PM</vt:lpwstr>
  </property>
  <property fmtid="{D5CDD505-2E9C-101B-9397-08002B2CF9AE}" pid="5" name="Classification">
    <vt:lpwstr>Public</vt:lpwstr>
  </property>
  <property fmtid="{D5CDD505-2E9C-101B-9397-08002B2CF9AE}" pid="6" name="TemplafyTimeStamp">
    <vt:lpwstr>2021-09-08T13:12:27.2605942Z</vt:lpwstr>
  </property>
  <property fmtid="{D5CDD505-2E9C-101B-9397-08002B2CF9AE}" pid="7" name="TemplafyTenantId">
    <vt:lpwstr>deloittecis</vt:lpwstr>
  </property>
  <property fmtid="{D5CDD505-2E9C-101B-9397-08002B2CF9AE}" pid="8" name="TemplafyTemplateId">
    <vt:lpwstr>637469237617937039</vt:lpwstr>
  </property>
  <property fmtid="{D5CDD505-2E9C-101B-9397-08002B2CF9AE}" pid="9" name="TemplafyUserProfileId">
    <vt:lpwstr>637263441004334014</vt:lpwstr>
  </property>
  <property fmtid="{D5CDD505-2E9C-101B-9397-08002B2CF9AE}" pid="10" name="TemplafyLanguageCode">
    <vt:lpwstr>en-GB</vt:lpwstr>
  </property>
</Properties>
</file>